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78" r:id="rId4"/>
    <p:sldMasterId id="2147483660" r:id="rId5"/>
    <p:sldMasterId id="2147483830" r:id="rId6"/>
    <p:sldMasterId id="2147483845" r:id="rId7"/>
  </p:sldMasterIdLst>
  <p:notesMasterIdLst>
    <p:notesMasterId r:id="rId28"/>
  </p:notesMasterIdLst>
  <p:handoutMasterIdLst>
    <p:handoutMasterId r:id="rId29"/>
  </p:handoutMasterIdLst>
  <p:sldIdLst>
    <p:sldId id="2147481630" r:id="rId8"/>
    <p:sldId id="2147481728" r:id="rId9"/>
    <p:sldId id="2147481729" r:id="rId10"/>
    <p:sldId id="2147481730" r:id="rId11"/>
    <p:sldId id="2147481731" r:id="rId12"/>
    <p:sldId id="2147481744" r:id="rId13"/>
    <p:sldId id="2147481747" r:id="rId14"/>
    <p:sldId id="2147481748" r:id="rId15"/>
    <p:sldId id="2147481750" r:id="rId16"/>
    <p:sldId id="2147481751" r:id="rId17"/>
    <p:sldId id="2147481735" r:id="rId18"/>
    <p:sldId id="2147481736" r:id="rId19"/>
    <p:sldId id="2147481737" r:id="rId20"/>
    <p:sldId id="2147481738" r:id="rId21"/>
    <p:sldId id="2147481739" r:id="rId22"/>
    <p:sldId id="2147481740" r:id="rId23"/>
    <p:sldId id="2147481741" r:id="rId24"/>
    <p:sldId id="2147481746" r:id="rId25"/>
    <p:sldId id="2147481743" r:id="rId26"/>
    <p:sldId id="2147481742" r:id="rId27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rporate Walking Deck" id="{38CC488C-048B-4DE8-86F5-DE0FF494A5BB}">
          <p14:sldIdLst>
            <p14:sldId id="2147481630"/>
            <p14:sldId id="2147481728"/>
            <p14:sldId id="2147481729"/>
            <p14:sldId id="2147481730"/>
            <p14:sldId id="2147481731"/>
            <p14:sldId id="2147481744"/>
            <p14:sldId id="2147481747"/>
            <p14:sldId id="2147481748"/>
            <p14:sldId id="2147481750"/>
            <p14:sldId id="2147481751"/>
            <p14:sldId id="2147481735"/>
            <p14:sldId id="2147481736"/>
            <p14:sldId id="2147481737"/>
            <p14:sldId id="2147481738"/>
            <p14:sldId id="2147481739"/>
            <p14:sldId id="2147481740"/>
            <p14:sldId id="2147481741"/>
            <p14:sldId id="2147481746"/>
            <p14:sldId id="2147481743"/>
            <p14:sldId id="214748174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3B7720B-69B3-DE62-8B15-3C7FA02E6BF0}" name="Di Nan" initials="DN" userId="S::di.nan@beigene.com::f5be067b-33da-4dc7-8a54-39d09281dc72" providerId="AD"/>
  <p188:author id="{E0B47E0B-2C66-C671-287B-B58D90C79E07}" name="Anne Gierahn" initials="AG" userId="S::anne.gierahn@beigene.com::496344bb-f85f-416a-b56a-fbead4e40259" providerId="AD"/>
  <p188:author id="{EAADC52B-675E-669D-8242-EE1E679C8075}" name="Lucy Li" initials="LL" userId="S::lucy.li@beigene.com::89216dae-38a8-481f-87fb-d13cae3adb5e" providerId="AD"/>
  <p188:author id="{1081B62D-3DEE-61E3-2D0B-6FE62ADBE0E6}" name="Caryn Marshall" initials="CM" userId="S::caryn.marshall@beigene.com::201382e0-366d-40c2-8f66-8e88b5f75f69" providerId="AD"/>
  <p188:author id="{A17BD22F-E1D0-2A4A-D6C8-2313BEC28449}" name="Jen Branstetter" initials="JB" userId="S::jennifer.branstetter@beigene.com::e5165607-4cb5-4816-bbd8-57bfc0d3edc2" providerId="AD"/>
  <p188:author id="{243AF731-058C-7CF6-95BF-6A6B3860E250}" name="Grace Guthrie" initials="GG" userId="S::grace.guthrie@beigene.com::a5884d01-e338-43d1-bcb9-e59eb79e25a7" providerId="AD"/>
  <p188:author id="{087FC53A-BB69-E6CC-A794-77441310829E}" name="Suzanne Johnson" initials="SJ" userId="S::suzanne.johnson@beigene.com::fb6d1f9b-d3d8-4f01-865d-e9516dd57bc2" providerId="AD"/>
  <p188:author id="{A0586943-DF41-5D15-3A19-A7150C4D7C9B}" name="Navneet Miller" initials="NM" userId="S::navneet.miller@beigene.com::2c683872-568b-4303-9a70-5c1e283270b2" providerId="AD"/>
  <p188:author id="{DFA52753-E71F-DB0D-5C43-5CD9A107948D}" name="Sarah Lamont (EXT.)" initials="SL(" userId="S::sarah.lamont@beigene.com::9d8a3a36-e234-4866-8f02-f234013dae4e" providerId="AD"/>
  <p188:author id="{20EA8D56-2D6F-64DB-DEDF-08AA048DD461}" name="Leah McCleary (Porter Novelli)" initials="LM(N" userId="S::leah.mccleary@porternovelli.com::2cc77be2-32c7-4afc-b7fe-9c7767699339" providerId="AD"/>
  <p188:author id="{7E9FD979-47A4-2407-140E-0CBF2787E184}" name="Elizabeth Wensley" initials="EW" userId="S::beth.wensley@beigene.com::d4d1fb77-8372-4135-98c6-7b17a1ee9d28" providerId="AD"/>
  <p188:author id="{EB9FC07B-2473-01EB-139B-778BA9A857A9}" name="Liza Heapes" initials="LH" userId="S::liza.heapes@beigene.com::5d2bedd6-3df5-4709-982c-6c407fa5de9b" providerId="AD"/>
  <p188:author id="{A7474B85-04AE-B75E-CDE6-7322896B61B8}" name="Nancy Lam" initials="NL" userId="S::nancy.lam@beigene.com::d2fb4be7-1d47-42e2-90a5-be5c560b249b" providerId="AD"/>
  <p188:author id="{E777198A-AA9F-079B-AF5B-E397AB4B10B1}" name="Shreya Jani" initials="SJ" userId="S::shreya.jani@beigene.com::2db23e5f-a09f-439f-8024-84b38c005ace" providerId="AD"/>
  <p188:author id="{F9C5C88A-7AFF-48C3-0893-0F6129C1F878}" name="Yulia Rybalka" initials="YR" userId="S::yulia.rybalka@beigene.com::8839439b-2669-4e1d-95d4-62b825cb391e" providerId="AD"/>
  <p188:author id="{6C8A98A4-620A-845D-4760-F8F81750B78E}" name="Lillian Phan" initials="LP" userId="S::Lillian.Phan@beigene.com::1210733d-e48f-4f29-ab1b-05d2b5a9eaf4" providerId="AD"/>
  <p188:author id="{9267BDA9-85B1-F16B-90D5-EFA4507F2308}" name="Michele Rest (Porter Novelli)" initials="MN" userId="S::michele.rest@porternovelli.com::94f5dcc4-6d6f-43a6-ae15-69c7c7e178b5" providerId="AD"/>
  <p188:author id="{EA385DAC-76B1-6C0E-66E3-F60E97ED2A72}" name="Louise Carter" initials="LC" userId="S::louise.carter@beigene.com::0203b373-5a34-4ba8-95e6-5a7fba5d1f78" providerId="AD"/>
  <p188:author id="{F17EC3B4-CEA6-421E-D7E6-2A935576C42C}" name="Lauren Ayala" initials="LA" userId="S::lauren.ayala@beigene.com::cb71d3e7-ae9c-4cd1-bac8-51cf917df212" providerId="AD"/>
  <p188:author id="{D0C7D9BB-CE8D-A186-5368-0DD266483D8F}" name="Kate Corcoran" initials="KC" userId="S::kate.corcoran@beigene.com::7713d350-a174-4cba-b36c-1082735cd930" providerId="AD"/>
  <p188:author id="{68A982CB-E0F5-B163-626B-8BC9CA809AD9}" name="Caitlin Barr" initials="CB" userId="S::caitlin.barr@beigene.com::9e55da95-c85b-474c-b26e-7189a5369aa5" providerId="AD"/>
  <p188:author id="{A54A67CE-563C-890B-DBC8-008544706FA9}" name="Chris Hafer" initials="CH" userId="S::christopher.hafer@beigene.com::a391e286-5871-460f-b8c5-73449faafdea" providerId="AD"/>
  <p188:author id="{190321E4-369D-6D8F-13F7-655C64841DD7}" name="Kimberly DiBurro" initials="KD" userId="S::kim.diburro@beigene.com::a89f1eca-1a2d-4e8d-8ecc-735700673cdc" providerId="AD"/>
  <p188:author id="{BF9461EC-D290-8FD9-2949-6D6AA4B08069}" name="Jessica Cotrone" initials="JC" userId="S::jessica.cotrone@beigene.com::31f258f2-bf11-49f6-8b48-10eb809443d3" providerId="AD"/>
  <p188:author id="{3E9449F2-F024-B1E9-1F80-0939650C01A4}" name="Dan Maller" initials="DM" userId="S::dan.maller@beigene.com::7742f52e-7041-46cb-aeff-c520a9a1efd2" providerId="AD"/>
  <p188:author id="{9F479AF2-35A0-EFBD-3898-2F78EDF7AB5F}" name="Kyle Blankenship" initials="KB" userId="S::kyle.blankenship@beigene.com::1c951a60-c1bc-44be-bb3c-beec870ba35a" providerId="AD"/>
  <p188:author id="{5428C7FF-05CC-6BA0-8BD8-ACD843B9EFCB}" name="Maryline Iva" initials="MI" userId="S::maryline.iva@beigene.com::7ee1cf1c-45d7-40d0-a428-f12ddeddab7c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za Heapes" initials="LH" lastIdx="2" clrIdx="0">
    <p:extLst>
      <p:ext uri="{19B8F6BF-5375-455C-9EA6-DF929625EA0E}">
        <p15:presenceInfo xmlns:p15="http://schemas.microsoft.com/office/powerpoint/2012/main" userId="S::liza.heapes@beigene.com::5d2bedd6-3df5-4709-982c-6c407fa5de9b" providerId="AD"/>
      </p:ext>
    </p:extLst>
  </p:cmAuthor>
  <p:cmAuthor id="2" name="Michele Rest" initials="MR" lastIdx="33" clrIdx="1">
    <p:extLst>
      <p:ext uri="{19B8F6BF-5375-455C-9EA6-DF929625EA0E}">
        <p15:presenceInfo xmlns:p15="http://schemas.microsoft.com/office/powerpoint/2012/main" userId="2ba408d37dc99693" providerId="Windows Live"/>
      </p:ext>
    </p:extLst>
  </p:cmAuthor>
  <p:cmAuthor id="3" name="OPRG" initials="OPRG" lastIdx="1" clrIdx="2">
    <p:extLst>
      <p:ext uri="{19B8F6BF-5375-455C-9EA6-DF929625EA0E}">
        <p15:presenceInfo xmlns:p15="http://schemas.microsoft.com/office/powerpoint/2012/main" userId="OPRG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D9D8D6"/>
    <a:srgbClr val="004974"/>
    <a:srgbClr val="000000"/>
    <a:srgbClr val="E3F3FA"/>
    <a:srgbClr val="97A3AE"/>
    <a:srgbClr val="98A3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9F12A2-031E-4D2D-BC4C-B19D20568AD9}" v="6" dt="2024-09-05T14:33:49.04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0" d="100"/>
          <a:sy n="80" d="100"/>
        </p:scale>
        <p:origin x="754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21" Type="http://schemas.openxmlformats.org/officeDocument/2006/relationships/slide" Target="slides/slide14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viewProps" Target="viewProps.xml"/><Relationship Id="rId37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notesMaster" Target="notesMasters/notesMaster1.xml"/><Relationship Id="rId36" Type="http://schemas.microsoft.com/office/2015/10/relationships/revisionInfo" Target="revisionInfo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commentAuthors" Target="commentAuthors.xml"/><Relationship Id="rId35" Type="http://schemas.microsoft.com/office/2016/11/relationships/changesInfo" Target="changesInfos/changesInfo1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lerie Sweeney" userId="4d964eea-e45c-42c3-92d0-cefee1c8f809" providerId="ADAL" clId="{119F12A2-031E-4D2D-BC4C-B19D20568AD9}"/>
    <pc:docChg chg="undo custSel addSld delSld modSld sldOrd modSection">
      <pc:chgData name="Valerie Sweeney" userId="4d964eea-e45c-42c3-92d0-cefee1c8f809" providerId="ADAL" clId="{119F12A2-031E-4D2D-BC4C-B19D20568AD9}" dt="2024-09-05T15:11:54.867" v="1507" actId="20577"/>
      <pc:docMkLst>
        <pc:docMk/>
      </pc:docMkLst>
      <pc:sldChg chg="modSp mod">
        <pc:chgData name="Valerie Sweeney" userId="4d964eea-e45c-42c3-92d0-cefee1c8f809" providerId="ADAL" clId="{119F12A2-031E-4D2D-BC4C-B19D20568AD9}" dt="2024-09-05T15:08:17.757" v="1469" actId="20577"/>
        <pc:sldMkLst>
          <pc:docMk/>
          <pc:sldMk cId="2157095915" sldId="2147481728"/>
        </pc:sldMkLst>
        <pc:spChg chg="mod">
          <ac:chgData name="Valerie Sweeney" userId="4d964eea-e45c-42c3-92d0-cefee1c8f809" providerId="ADAL" clId="{119F12A2-031E-4D2D-BC4C-B19D20568AD9}" dt="2024-09-05T15:08:17.757" v="1469" actId="20577"/>
          <ac:spMkLst>
            <pc:docMk/>
            <pc:sldMk cId="2157095915" sldId="2147481728"/>
            <ac:spMk id="3" creationId="{535B9897-F37E-235F-F114-139AA579AD6B}"/>
          </ac:spMkLst>
        </pc:spChg>
        <pc:spChg chg="mod">
          <ac:chgData name="Valerie Sweeney" userId="4d964eea-e45c-42c3-92d0-cefee1c8f809" providerId="ADAL" clId="{119F12A2-031E-4D2D-BC4C-B19D20568AD9}" dt="2024-09-05T15:07:53.319" v="1437" actId="242"/>
          <ac:spMkLst>
            <pc:docMk/>
            <pc:sldMk cId="2157095915" sldId="2147481728"/>
            <ac:spMk id="4" creationId="{2CC5A78F-DB0F-3D1D-9ADE-3D0D06BA6120}"/>
          </ac:spMkLst>
        </pc:spChg>
      </pc:sldChg>
      <pc:sldChg chg="modSp mod">
        <pc:chgData name="Valerie Sweeney" userId="4d964eea-e45c-42c3-92d0-cefee1c8f809" providerId="ADAL" clId="{119F12A2-031E-4D2D-BC4C-B19D20568AD9}" dt="2024-09-05T15:11:31.539" v="1506" actId="6549"/>
        <pc:sldMkLst>
          <pc:docMk/>
          <pc:sldMk cId="2422171918" sldId="2147481729"/>
        </pc:sldMkLst>
        <pc:spChg chg="mod">
          <ac:chgData name="Valerie Sweeney" userId="4d964eea-e45c-42c3-92d0-cefee1c8f809" providerId="ADAL" clId="{119F12A2-031E-4D2D-BC4C-B19D20568AD9}" dt="2024-09-05T15:11:31.539" v="1506" actId="6549"/>
          <ac:spMkLst>
            <pc:docMk/>
            <pc:sldMk cId="2422171918" sldId="2147481729"/>
            <ac:spMk id="2" creationId="{F8CAD609-C276-ED26-6F38-B861FE2D8543}"/>
          </ac:spMkLst>
        </pc:spChg>
      </pc:sldChg>
      <pc:sldChg chg="addSp delSp modSp mod">
        <pc:chgData name="Valerie Sweeney" userId="4d964eea-e45c-42c3-92d0-cefee1c8f809" providerId="ADAL" clId="{119F12A2-031E-4D2D-BC4C-B19D20568AD9}" dt="2024-09-05T15:08:31.124" v="1471" actId="20577"/>
        <pc:sldMkLst>
          <pc:docMk/>
          <pc:sldMk cId="119066543" sldId="2147481730"/>
        </pc:sldMkLst>
        <pc:spChg chg="add del">
          <ac:chgData name="Valerie Sweeney" userId="4d964eea-e45c-42c3-92d0-cefee1c8f809" providerId="ADAL" clId="{119F12A2-031E-4D2D-BC4C-B19D20568AD9}" dt="2024-09-04T17:27:01.953" v="2" actId="22"/>
          <ac:spMkLst>
            <pc:docMk/>
            <pc:sldMk cId="119066543" sldId="2147481730"/>
            <ac:spMk id="4" creationId="{C50CA8E2-BAF2-8B89-E3E9-301C3D1F8CB5}"/>
          </ac:spMkLst>
        </pc:spChg>
        <pc:spChg chg="mod">
          <ac:chgData name="Valerie Sweeney" userId="4d964eea-e45c-42c3-92d0-cefee1c8f809" providerId="ADAL" clId="{119F12A2-031E-4D2D-BC4C-B19D20568AD9}" dt="2024-09-05T15:08:31.124" v="1471" actId="20577"/>
          <ac:spMkLst>
            <pc:docMk/>
            <pc:sldMk cId="119066543" sldId="2147481730"/>
            <ac:spMk id="5" creationId="{1FF5E3A5-A791-24EA-3167-D4CB2FE39290}"/>
          </ac:spMkLst>
        </pc:spChg>
        <pc:picChg chg="add mod">
          <ac:chgData name="Valerie Sweeney" userId="4d964eea-e45c-42c3-92d0-cefee1c8f809" providerId="ADAL" clId="{119F12A2-031E-4D2D-BC4C-B19D20568AD9}" dt="2024-09-05T15:08:27.371" v="1470" actId="1076"/>
          <ac:picMkLst>
            <pc:docMk/>
            <pc:sldMk cId="119066543" sldId="2147481730"/>
            <ac:picMk id="4" creationId="{D86736A2-CBEC-7FAE-D82F-46EBFC00DF78}"/>
          </ac:picMkLst>
        </pc:picChg>
        <pc:picChg chg="add del mod">
          <ac:chgData name="Valerie Sweeney" userId="4d964eea-e45c-42c3-92d0-cefee1c8f809" providerId="ADAL" clId="{119F12A2-031E-4D2D-BC4C-B19D20568AD9}" dt="2024-09-05T14:43:36.735" v="860" actId="478"/>
          <ac:picMkLst>
            <pc:docMk/>
            <pc:sldMk cId="119066543" sldId="2147481730"/>
            <ac:picMk id="7" creationId="{F4120DDC-DE88-04B5-B0F9-7313A2AA41FA}"/>
          </ac:picMkLst>
        </pc:picChg>
        <pc:picChg chg="del">
          <ac:chgData name="Valerie Sweeney" userId="4d964eea-e45c-42c3-92d0-cefee1c8f809" providerId="ADAL" clId="{119F12A2-031E-4D2D-BC4C-B19D20568AD9}" dt="2024-09-04T17:26:59.232" v="0" actId="478"/>
          <ac:picMkLst>
            <pc:docMk/>
            <pc:sldMk cId="119066543" sldId="2147481730"/>
            <ac:picMk id="9" creationId="{9A5F383A-612B-BEA4-2563-F11532EF4F10}"/>
          </ac:picMkLst>
        </pc:picChg>
      </pc:sldChg>
      <pc:sldChg chg="addSp delSp modSp mod">
        <pc:chgData name="Valerie Sweeney" userId="4d964eea-e45c-42c3-92d0-cefee1c8f809" providerId="ADAL" clId="{119F12A2-031E-4D2D-BC4C-B19D20568AD9}" dt="2024-09-05T15:08:58.091" v="1474" actId="27107"/>
        <pc:sldMkLst>
          <pc:docMk/>
          <pc:sldMk cId="3651944814" sldId="2147481731"/>
        </pc:sldMkLst>
        <pc:spChg chg="mod">
          <ac:chgData name="Valerie Sweeney" userId="4d964eea-e45c-42c3-92d0-cefee1c8f809" providerId="ADAL" clId="{119F12A2-031E-4D2D-BC4C-B19D20568AD9}" dt="2024-09-05T15:08:58.091" v="1474" actId="27107"/>
          <ac:spMkLst>
            <pc:docMk/>
            <pc:sldMk cId="3651944814" sldId="2147481731"/>
            <ac:spMk id="5" creationId="{1FF5E3A5-A791-24EA-3167-D4CB2FE39290}"/>
          </ac:spMkLst>
        </pc:spChg>
        <pc:spChg chg="mod">
          <ac:chgData name="Valerie Sweeney" userId="4d964eea-e45c-42c3-92d0-cefee1c8f809" providerId="ADAL" clId="{119F12A2-031E-4D2D-BC4C-B19D20568AD9}" dt="2024-09-04T17:29:58.754" v="103" actId="113"/>
          <ac:spMkLst>
            <pc:docMk/>
            <pc:sldMk cId="3651944814" sldId="2147481731"/>
            <ac:spMk id="7" creationId="{4A22EC0A-628A-2D7C-69C1-3EF6BA7B2245}"/>
          </ac:spMkLst>
        </pc:spChg>
        <pc:picChg chg="del">
          <ac:chgData name="Valerie Sweeney" userId="4d964eea-e45c-42c3-92d0-cefee1c8f809" providerId="ADAL" clId="{119F12A2-031E-4D2D-BC4C-B19D20568AD9}" dt="2024-09-04T17:28:06.374" v="13" actId="478"/>
          <ac:picMkLst>
            <pc:docMk/>
            <pc:sldMk cId="3651944814" sldId="2147481731"/>
            <ac:picMk id="4" creationId="{2283FA9A-D496-F235-20B5-AF7AAF931488}"/>
          </ac:picMkLst>
        </pc:picChg>
        <pc:picChg chg="add mod">
          <ac:chgData name="Valerie Sweeney" userId="4d964eea-e45c-42c3-92d0-cefee1c8f809" providerId="ADAL" clId="{119F12A2-031E-4D2D-BC4C-B19D20568AD9}" dt="2024-09-05T15:08:44.156" v="1473" actId="1076"/>
          <ac:picMkLst>
            <pc:docMk/>
            <pc:sldMk cId="3651944814" sldId="2147481731"/>
            <ac:picMk id="4" creationId="{34195A64-50C1-B76E-99FF-C78EAFDF51C8}"/>
          </ac:picMkLst>
        </pc:picChg>
        <pc:picChg chg="add del mod">
          <ac:chgData name="Valerie Sweeney" userId="4d964eea-e45c-42c3-92d0-cefee1c8f809" providerId="ADAL" clId="{119F12A2-031E-4D2D-BC4C-B19D20568AD9}" dt="2024-09-04T17:28:38.413" v="19" actId="478"/>
          <ac:picMkLst>
            <pc:docMk/>
            <pc:sldMk cId="3651944814" sldId="2147481731"/>
            <ac:picMk id="6" creationId="{22E649ED-8F1D-7FA3-3B13-95D24616BFAA}"/>
          </ac:picMkLst>
        </pc:picChg>
        <pc:picChg chg="add del mod">
          <ac:chgData name="Valerie Sweeney" userId="4d964eea-e45c-42c3-92d0-cefee1c8f809" providerId="ADAL" clId="{119F12A2-031E-4D2D-BC4C-B19D20568AD9}" dt="2024-09-05T14:42:46.140" v="851" actId="478"/>
          <ac:picMkLst>
            <pc:docMk/>
            <pc:sldMk cId="3651944814" sldId="2147481731"/>
            <ac:picMk id="9" creationId="{5AED91E1-1B32-21C7-418F-DA0925A3B701}"/>
          </ac:picMkLst>
        </pc:picChg>
      </pc:sldChg>
      <pc:sldChg chg="modSp del mod">
        <pc:chgData name="Valerie Sweeney" userId="4d964eea-e45c-42c3-92d0-cefee1c8f809" providerId="ADAL" clId="{119F12A2-031E-4D2D-BC4C-B19D20568AD9}" dt="2024-09-05T14:52:08.714" v="1127" actId="2696"/>
        <pc:sldMkLst>
          <pc:docMk/>
          <pc:sldMk cId="1167340259" sldId="2147481732"/>
        </pc:sldMkLst>
        <pc:spChg chg="mod">
          <ac:chgData name="Valerie Sweeney" userId="4d964eea-e45c-42c3-92d0-cefee1c8f809" providerId="ADAL" clId="{119F12A2-031E-4D2D-BC4C-B19D20568AD9}" dt="2024-09-04T17:30:52.975" v="140" actId="20577"/>
          <ac:spMkLst>
            <pc:docMk/>
            <pc:sldMk cId="1167340259" sldId="2147481732"/>
            <ac:spMk id="2" creationId="{58A137F2-84CC-1F5F-1679-362703149B01}"/>
          </ac:spMkLst>
        </pc:spChg>
        <pc:spChg chg="mod">
          <ac:chgData name="Valerie Sweeney" userId="4d964eea-e45c-42c3-92d0-cefee1c8f809" providerId="ADAL" clId="{119F12A2-031E-4D2D-BC4C-B19D20568AD9}" dt="2024-09-05T14:25:00.048" v="373" actId="20577"/>
          <ac:spMkLst>
            <pc:docMk/>
            <pc:sldMk cId="1167340259" sldId="2147481732"/>
            <ac:spMk id="5" creationId="{1FF5E3A5-A791-24EA-3167-D4CB2FE39290}"/>
          </ac:spMkLst>
        </pc:spChg>
      </pc:sldChg>
      <pc:sldChg chg="modSp del mod">
        <pc:chgData name="Valerie Sweeney" userId="4d964eea-e45c-42c3-92d0-cefee1c8f809" providerId="ADAL" clId="{119F12A2-031E-4D2D-BC4C-B19D20568AD9}" dt="2024-09-05T14:52:08.714" v="1127" actId="2696"/>
        <pc:sldMkLst>
          <pc:docMk/>
          <pc:sldMk cId="1985969989" sldId="2147481733"/>
        </pc:sldMkLst>
        <pc:spChg chg="mod">
          <ac:chgData name="Valerie Sweeney" userId="4d964eea-e45c-42c3-92d0-cefee1c8f809" providerId="ADAL" clId="{119F12A2-031E-4D2D-BC4C-B19D20568AD9}" dt="2024-09-04T17:31:01.873" v="141"/>
          <ac:spMkLst>
            <pc:docMk/>
            <pc:sldMk cId="1985969989" sldId="2147481733"/>
            <ac:spMk id="2" creationId="{58A137F2-84CC-1F5F-1679-362703149B01}"/>
          </ac:spMkLst>
        </pc:spChg>
        <pc:spChg chg="mod">
          <ac:chgData name="Valerie Sweeney" userId="4d964eea-e45c-42c3-92d0-cefee1c8f809" providerId="ADAL" clId="{119F12A2-031E-4D2D-BC4C-B19D20568AD9}" dt="2024-09-05T14:25:04.024" v="374" actId="20577"/>
          <ac:spMkLst>
            <pc:docMk/>
            <pc:sldMk cId="1985969989" sldId="2147481733"/>
            <ac:spMk id="5" creationId="{1FF5E3A5-A791-24EA-3167-D4CB2FE39290}"/>
          </ac:spMkLst>
        </pc:spChg>
      </pc:sldChg>
      <pc:sldChg chg="modSp del mod">
        <pc:chgData name="Valerie Sweeney" userId="4d964eea-e45c-42c3-92d0-cefee1c8f809" providerId="ADAL" clId="{119F12A2-031E-4D2D-BC4C-B19D20568AD9}" dt="2024-09-05T14:52:08.714" v="1127" actId="2696"/>
        <pc:sldMkLst>
          <pc:docMk/>
          <pc:sldMk cId="3538136047" sldId="2147481734"/>
        </pc:sldMkLst>
        <pc:spChg chg="mod">
          <ac:chgData name="Valerie Sweeney" userId="4d964eea-e45c-42c3-92d0-cefee1c8f809" providerId="ADAL" clId="{119F12A2-031E-4D2D-BC4C-B19D20568AD9}" dt="2024-09-04T17:31:04.285" v="142"/>
          <ac:spMkLst>
            <pc:docMk/>
            <pc:sldMk cId="3538136047" sldId="2147481734"/>
            <ac:spMk id="2" creationId="{58A137F2-84CC-1F5F-1679-362703149B01}"/>
          </ac:spMkLst>
        </pc:spChg>
      </pc:sldChg>
      <pc:sldChg chg="modSp mod">
        <pc:chgData name="Valerie Sweeney" userId="4d964eea-e45c-42c3-92d0-cefee1c8f809" providerId="ADAL" clId="{119F12A2-031E-4D2D-BC4C-B19D20568AD9}" dt="2024-09-05T15:11:16.704" v="1503" actId="6549"/>
        <pc:sldMkLst>
          <pc:docMk/>
          <pc:sldMk cId="3785595602" sldId="2147481735"/>
        </pc:sldMkLst>
        <pc:spChg chg="mod">
          <ac:chgData name="Valerie Sweeney" userId="4d964eea-e45c-42c3-92d0-cefee1c8f809" providerId="ADAL" clId="{119F12A2-031E-4D2D-BC4C-B19D20568AD9}" dt="2024-09-05T15:11:16.704" v="1503" actId="6549"/>
          <ac:spMkLst>
            <pc:docMk/>
            <pc:sldMk cId="3785595602" sldId="2147481735"/>
            <ac:spMk id="2" creationId="{F8CAD609-C276-ED26-6F38-B861FE2D8543}"/>
          </ac:spMkLst>
        </pc:spChg>
      </pc:sldChg>
      <pc:sldChg chg="modSp mod ord">
        <pc:chgData name="Valerie Sweeney" userId="4d964eea-e45c-42c3-92d0-cefee1c8f809" providerId="ADAL" clId="{119F12A2-031E-4D2D-BC4C-B19D20568AD9}" dt="2024-09-05T14:28:06.064" v="394"/>
        <pc:sldMkLst>
          <pc:docMk/>
          <pc:sldMk cId="1988946864" sldId="2147481742"/>
        </pc:sldMkLst>
        <pc:spChg chg="mod">
          <ac:chgData name="Valerie Sweeney" userId="4d964eea-e45c-42c3-92d0-cefee1c8f809" providerId="ADAL" clId="{119F12A2-031E-4D2D-BC4C-B19D20568AD9}" dt="2024-09-05T14:25:32.429" v="376" actId="207"/>
          <ac:spMkLst>
            <pc:docMk/>
            <pc:sldMk cId="1988946864" sldId="2147481742"/>
            <ac:spMk id="4" creationId="{3623E274-AFA8-637F-BA04-2BDC4CE44245}"/>
          </ac:spMkLst>
        </pc:spChg>
      </pc:sldChg>
      <pc:sldChg chg="modSp mod ord">
        <pc:chgData name="Valerie Sweeney" userId="4d964eea-e45c-42c3-92d0-cefee1c8f809" providerId="ADAL" clId="{119F12A2-031E-4D2D-BC4C-B19D20568AD9}" dt="2024-09-05T14:28:06.064" v="394"/>
        <pc:sldMkLst>
          <pc:docMk/>
          <pc:sldMk cId="111085369" sldId="2147481743"/>
        </pc:sldMkLst>
        <pc:spChg chg="mod">
          <ac:chgData name="Valerie Sweeney" userId="4d964eea-e45c-42c3-92d0-cefee1c8f809" providerId="ADAL" clId="{119F12A2-031E-4D2D-BC4C-B19D20568AD9}" dt="2024-09-05T14:25:29.439" v="375" actId="207"/>
          <ac:spMkLst>
            <pc:docMk/>
            <pc:sldMk cId="111085369" sldId="2147481743"/>
            <ac:spMk id="4" creationId="{3623E274-AFA8-637F-BA04-2BDC4CE44245}"/>
          </ac:spMkLst>
        </pc:spChg>
      </pc:sldChg>
      <pc:sldChg chg="addSp delSp modSp add mod">
        <pc:chgData name="Valerie Sweeney" userId="4d964eea-e45c-42c3-92d0-cefee1c8f809" providerId="ADAL" clId="{119F12A2-031E-4D2D-BC4C-B19D20568AD9}" dt="2024-09-05T14:24:48.353" v="372" actId="692"/>
        <pc:sldMkLst>
          <pc:docMk/>
          <pc:sldMk cId="1982626154" sldId="2147481744"/>
        </pc:sldMkLst>
        <pc:spChg chg="mod">
          <ac:chgData name="Valerie Sweeney" userId="4d964eea-e45c-42c3-92d0-cefee1c8f809" providerId="ADAL" clId="{119F12A2-031E-4D2D-BC4C-B19D20568AD9}" dt="2024-09-05T14:19:50.952" v="369" actId="20577"/>
          <ac:spMkLst>
            <pc:docMk/>
            <pc:sldMk cId="1982626154" sldId="2147481744"/>
            <ac:spMk id="5" creationId="{1FF5E3A5-A791-24EA-3167-D4CB2FE39290}"/>
          </ac:spMkLst>
        </pc:spChg>
        <pc:spChg chg="del mod">
          <ac:chgData name="Valerie Sweeney" userId="4d964eea-e45c-42c3-92d0-cefee1c8f809" providerId="ADAL" clId="{119F12A2-031E-4D2D-BC4C-B19D20568AD9}" dt="2024-09-05T14:19:14.571" v="322" actId="478"/>
          <ac:spMkLst>
            <pc:docMk/>
            <pc:sldMk cId="1982626154" sldId="2147481744"/>
            <ac:spMk id="7" creationId="{4A22EC0A-628A-2D7C-69C1-3EF6BA7B2245}"/>
          </ac:spMkLst>
        </pc:spChg>
        <pc:picChg chg="add mod">
          <ac:chgData name="Valerie Sweeney" userId="4d964eea-e45c-42c3-92d0-cefee1c8f809" providerId="ADAL" clId="{119F12A2-031E-4D2D-BC4C-B19D20568AD9}" dt="2024-09-05T14:24:48.353" v="372" actId="692"/>
          <ac:picMkLst>
            <pc:docMk/>
            <pc:sldMk cId="1982626154" sldId="2147481744"/>
            <ac:picMk id="4" creationId="{A581D5BB-AF50-0665-02B9-55216E8AD2FF}"/>
          </ac:picMkLst>
        </pc:picChg>
        <pc:picChg chg="del">
          <ac:chgData name="Valerie Sweeney" userId="4d964eea-e45c-42c3-92d0-cefee1c8f809" providerId="ADAL" clId="{119F12A2-031E-4D2D-BC4C-B19D20568AD9}" dt="2024-09-05T14:09:27.456" v="147" actId="478"/>
          <ac:picMkLst>
            <pc:docMk/>
            <pc:sldMk cId="1982626154" sldId="2147481744"/>
            <ac:picMk id="9" creationId="{5AED91E1-1B32-21C7-418F-DA0925A3B701}"/>
          </ac:picMkLst>
        </pc:picChg>
      </pc:sldChg>
      <pc:sldChg chg="modSp new del mod">
        <pc:chgData name="Valerie Sweeney" userId="4d964eea-e45c-42c3-92d0-cefee1c8f809" providerId="ADAL" clId="{119F12A2-031E-4D2D-BC4C-B19D20568AD9}" dt="2024-09-05T14:26:44.443" v="388" actId="2696"/>
        <pc:sldMkLst>
          <pc:docMk/>
          <pc:sldMk cId="318561009" sldId="2147481745"/>
        </pc:sldMkLst>
        <pc:spChg chg="mod">
          <ac:chgData name="Valerie Sweeney" userId="4d964eea-e45c-42c3-92d0-cefee1c8f809" providerId="ADAL" clId="{119F12A2-031E-4D2D-BC4C-B19D20568AD9}" dt="2024-09-05T14:26:16.999" v="383" actId="20577"/>
          <ac:spMkLst>
            <pc:docMk/>
            <pc:sldMk cId="318561009" sldId="2147481745"/>
            <ac:spMk id="2" creationId="{9019992B-7D03-872C-3CE4-1CFC49238298}"/>
          </ac:spMkLst>
        </pc:spChg>
      </pc:sldChg>
      <pc:sldChg chg="modSp add mod ord">
        <pc:chgData name="Valerie Sweeney" userId="4d964eea-e45c-42c3-92d0-cefee1c8f809" providerId="ADAL" clId="{119F12A2-031E-4D2D-BC4C-B19D20568AD9}" dt="2024-09-05T15:11:54.867" v="1507" actId="20577"/>
        <pc:sldMkLst>
          <pc:docMk/>
          <pc:sldMk cId="3504901634" sldId="2147481746"/>
        </pc:sldMkLst>
        <pc:spChg chg="mod">
          <ac:chgData name="Valerie Sweeney" userId="4d964eea-e45c-42c3-92d0-cefee1c8f809" providerId="ADAL" clId="{119F12A2-031E-4D2D-BC4C-B19D20568AD9}" dt="2024-09-05T15:11:54.867" v="1507" actId="20577"/>
          <ac:spMkLst>
            <pc:docMk/>
            <pc:sldMk cId="3504901634" sldId="2147481746"/>
            <ac:spMk id="2" creationId="{F8CAD609-C276-ED26-6F38-B861FE2D8543}"/>
          </ac:spMkLst>
        </pc:spChg>
      </pc:sldChg>
      <pc:sldChg chg="addSp delSp modSp new mod">
        <pc:chgData name="Valerie Sweeney" userId="4d964eea-e45c-42c3-92d0-cefee1c8f809" providerId="ADAL" clId="{119F12A2-031E-4D2D-BC4C-B19D20568AD9}" dt="2024-09-05T15:09:54.141" v="1480" actId="20577"/>
        <pc:sldMkLst>
          <pc:docMk/>
          <pc:sldMk cId="3707129359" sldId="2147481747"/>
        </pc:sldMkLst>
        <pc:spChg chg="del">
          <ac:chgData name="Valerie Sweeney" userId="4d964eea-e45c-42c3-92d0-cefee1c8f809" providerId="ADAL" clId="{119F12A2-031E-4D2D-BC4C-B19D20568AD9}" dt="2024-09-05T14:30:27.309" v="410" actId="478"/>
          <ac:spMkLst>
            <pc:docMk/>
            <pc:sldMk cId="3707129359" sldId="2147481747"/>
            <ac:spMk id="2" creationId="{285A58EC-257A-5D6C-C03A-074AC68B6792}"/>
          </ac:spMkLst>
        </pc:spChg>
        <pc:spChg chg="mod">
          <ac:chgData name="Valerie Sweeney" userId="4d964eea-e45c-42c3-92d0-cefee1c8f809" providerId="ADAL" clId="{119F12A2-031E-4D2D-BC4C-B19D20568AD9}" dt="2024-09-05T15:09:28.356" v="1475" actId="6549"/>
          <ac:spMkLst>
            <pc:docMk/>
            <pc:sldMk cId="3707129359" sldId="2147481747"/>
            <ac:spMk id="3" creationId="{045A9CC9-1B43-851B-6932-B08F9EAAEF71}"/>
          </ac:spMkLst>
        </pc:spChg>
        <pc:spChg chg="mod">
          <ac:chgData name="Valerie Sweeney" userId="4d964eea-e45c-42c3-92d0-cefee1c8f809" providerId="ADAL" clId="{119F12A2-031E-4D2D-BC4C-B19D20568AD9}" dt="2024-09-05T14:29:22.187" v="400" actId="242"/>
          <ac:spMkLst>
            <pc:docMk/>
            <pc:sldMk cId="3707129359" sldId="2147481747"/>
            <ac:spMk id="4" creationId="{865C5E90-570F-290E-C98E-1AC7BC217201}"/>
          </ac:spMkLst>
        </pc:spChg>
        <pc:spChg chg="add mod">
          <ac:chgData name="Valerie Sweeney" userId="4d964eea-e45c-42c3-92d0-cefee1c8f809" providerId="ADAL" clId="{119F12A2-031E-4D2D-BC4C-B19D20568AD9}" dt="2024-09-05T15:09:54.141" v="1480" actId="20577"/>
          <ac:spMkLst>
            <pc:docMk/>
            <pc:sldMk cId="3707129359" sldId="2147481747"/>
            <ac:spMk id="9" creationId="{1C1FBCAE-8912-D20B-AAD6-3DDA59FE945B}"/>
          </ac:spMkLst>
        </pc:spChg>
        <pc:picChg chg="add del mod">
          <ac:chgData name="Valerie Sweeney" userId="4d964eea-e45c-42c3-92d0-cefee1c8f809" providerId="ADAL" clId="{119F12A2-031E-4D2D-BC4C-B19D20568AD9}" dt="2024-09-05T14:40:46.791" v="825" actId="478"/>
          <ac:picMkLst>
            <pc:docMk/>
            <pc:sldMk cId="3707129359" sldId="2147481747"/>
            <ac:picMk id="6" creationId="{96E14203-2465-6C9A-E562-6F913E6D063C}"/>
          </ac:picMkLst>
        </pc:picChg>
        <pc:picChg chg="add del mod">
          <ac:chgData name="Valerie Sweeney" userId="4d964eea-e45c-42c3-92d0-cefee1c8f809" providerId="ADAL" clId="{119F12A2-031E-4D2D-BC4C-B19D20568AD9}" dt="2024-09-05T14:41:02.534" v="832" actId="478"/>
          <ac:picMkLst>
            <pc:docMk/>
            <pc:sldMk cId="3707129359" sldId="2147481747"/>
            <ac:picMk id="8" creationId="{DA8FBEE1-42CB-9471-5FF6-6380A2BC297A}"/>
          </ac:picMkLst>
        </pc:picChg>
        <pc:picChg chg="add del mod">
          <ac:chgData name="Valerie Sweeney" userId="4d964eea-e45c-42c3-92d0-cefee1c8f809" providerId="ADAL" clId="{119F12A2-031E-4D2D-BC4C-B19D20568AD9}" dt="2024-09-05T14:41:06.551" v="833" actId="478"/>
          <ac:picMkLst>
            <pc:docMk/>
            <pc:sldMk cId="3707129359" sldId="2147481747"/>
            <ac:picMk id="11" creationId="{036CFC61-4448-AFE8-EA93-51369EBF7575}"/>
          </ac:picMkLst>
        </pc:picChg>
        <pc:picChg chg="add mod">
          <ac:chgData name="Valerie Sweeney" userId="4d964eea-e45c-42c3-92d0-cefee1c8f809" providerId="ADAL" clId="{119F12A2-031E-4D2D-BC4C-B19D20568AD9}" dt="2024-09-05T14:42:21.556" v="845" actId="692"/>
          <ac:picMkLst>
            <pc:docMk/>
            <pc:sldMk cId="3707129359" sldId="2147481747"/>
            <ac:picMk id="13" creationId="{B7079CCE-52D2-D5BB-01CD-8C70B8CE4DD9}"/>
          </ac:picMkLst>
        </pc:picChg>
        <pc:picChg chg="add mod">
          <ac:chgData name="Valerie Sweeney" userId="4d964eea-e45c-42c3-92d0-cefee1c8f809" providerId="ADAL" clId="{119F12A2-031E-4D2D-BC4C-B19D20568AD9}" dt="2024-09-05T14:42:37.574" v="850" actId="1076"/>
          <ac:picMkLst>
            <pc:docMk/>
            <pc:sldMk cId="3707129359" sldId="2147481747"/>
            <ac:picMk id="15" creationId="{E30B6EB0-33BB-35CC-4131-3EC2E4DDFAD1}"/>
          </ac:picMkLst>
        </pc:picChg>
      </pc:sldChg>
      <pc:sldChg chg="addSp delSp modSp add mod">
        <pc:chgData name="Valerie Sweeney" userId="4d964eea-e45c-42c3-92d0-cefee1c8f809" providerId="ADAL" clId="{119F12A2-031E-4D2D-BC4C-B19D20568AD9}" dt="2024-09-05T14:58:59.352" v="1268" actId="692"/>
        <pc:sldMkLst>
          <pc:docMk/>
          <pc:sldMk cId="2341232317" sldId="2147481748"/>
        </pc:sldMkLst>
        <pc:spChg chg="mod">
          <ac:chgData name="Valerie Sweeney" userId="4d964eea-e45c-42c3-92d0-cefee1c8f809" providerId="ADAL" clId="{119F12A2-031E-4D2D-BC4C-B19D20568AD9}" dt="2024-09-05T14:57:36.916" v="1246" actId="6549"/>
          <ac:spMkLst>
            <pc:docMk/>
            <pc:sldMk cId="2341232317" sldId="2147481748"/>
            <ac:spMk id="3" creationId="{045A9CC9-1B43-851B-6932-B08F9EAAEF71}"/>
          </ac:spMkLst>
        </pc:spChg>
        <pc:spChg chg="del">
          <ac:chgData name="Valerie Sweeney" userId="4d964eea-e45c-42c3-92d0-cefee1c8f809" providerId="ADAL" clId="{119F12A2-031E-4D2D-BC4C-B19D20568AD9}" dt="2024-09-05T14:36:40.200" v="788" actId="478"/>
          <ac:spMkLst>
            <pc:docMk/>
            <pc:sldMk cId="2341232317" sldId="2147481748"/>
            <ac:spMk id="9" creationId="{1C1FBCAE-8912-D20B-AAD6-3DDA59FE945B}"/>
          </ac:spMkLst>
        </pc:spChg>
        <pc:picChg chg="add del mod">
          <ac:chgData name="Valerie Sweeney" userId="4d964eea-e45c-42c3-92d0-cefee1c8f809" providerId="ADAL" clId="{119F12A2-031E-4D2D-BC4C-B19D20568AD9}" dt="2024-09-05T14:37:38.670" v="815" actId="478"/>
          <ac:picMkLst>
            <pc:docMk/>
            <pc:sldMk cId="2341232317" sldId="2147481748"/>
            <ac:picMk id="5" creationId="{9463E885-C695-56B9-4523-E9F2E41826FF}"/>
          </ac:picMkLst>
        </pc:picChg>
        <pc:picChg chg="del">
          <ac:chgData name="Valerie Sweeney" userId="4d964eea-e45c-42c3-92d0-cefee1c8f809" providerId="ADAL" clId="{119F12A2-031E-4D2D-BC4C-B19D20568AD9}" dt="2024-09-05T14:36:38.234" v="786" actId="478"/>
          <ac:picMkLst>
            <pc:docMk/>
            <pc:sldMk cId="2341232317" sldId="2147481748"/>
            <ac:picMk id="6" creationId="{96E14203-2465-6C9A-E562-6F913E6D063C}"/>
          </ac:picMkLst>
        </pc:picChg>
        <pc:picChg chg="del">
          <ac:chgData name="Valerie Sweeney" userId="4d964eea-e45c-42c3-92d0-cefee1c8f809" providerId="ADAL" clId="{119F12A2-031E-4D2D-BC4C-B19D20568AD9}" dt="2024-09-05T14:36:38.991" v="787" actId="478"/>
          <ac:picMkLst>
            <pc:docMk/>
            <pc:sldMk cId="2341232317" sldId="2147481748"/>
            <ac:picMk id="8" creationId="{DA8FBEE1-42CB-9471-5FF6-6380A2BC297A}"/>
          </ac:picMkLst>
        </pc:picChg>
        <pc:picChg chg="add del mod">
          <ac:chgData name="Valerie Sweeney" userId="4d964eea-e45c-42c3-92d0-cefee1c8f809" providerId="ADAL" clId="{119F12A2-031E-4D2D-BC4C-B19D20568AD9}" dt="2024-09-05T14:39:08.766" v="818" actId="478"/>
          <ac:picMkLst>
            <pc:docMk/>
            <pc:sldMk cId="2341232317" sldId="2147481748"/>
            <ac:picMk id="10" creationId="{107842DF-808E-9DEA-452C-28DDDF8E76CE}"/>
          </ac:picMkLst>
        </pc:picChg>
        <pc:picChg chg="add del mod">
          <ac:chgData name="Valerie Sweeney" userId="4d964eea-e45c-42c3-92d0-cefee1c8f809" providerId="ADAL" clId="{119F12A2-031E-4D2D-BC4C-B19D20568AD9}" dt="2024-09-05T14:45:22.177" v="872" actId="478"/>
          <ac:picMkLst>
            <pc:docMk/>
            <pc:sldMk cId="2341232317" sldId="2147481748"/>
            <ac:picMk id="12" creationId="{ABEE30DE-16E8-E6C5-006F-95820AC0DEB3}"/>
          </ac:picMkLst>
        </pc:picChg>
        <pc:picChg chg="add del mod">
          <ac:chgData name="Valerie Sweeney" userId="4d964eea-e45c-42c3-92d0-cefee1c8f809" providerId="ADAL" clId="{119F12A2-031E-4D2D-BC4C-B19D20568AD9}" dt="2024-09-05T14:56:22.050" v="1228" actId="478"/>
          <ac:picMkLst>
            <pc:docMk/>
            <pc:sldMk cId="2341232317" sldId="2147481748"/>
            <ac:picMk id="14" creationId="{7F4505CF-ADB0-97A0-9514-C4F0E91A48CD}"/>
          </ac:picMkLst>
        </pc:picChg>
        <pc:picChg chg="add del mod">
          <ac:chgData name="Valerie Sweeney" userId="4d964eea-e45c-42c3-92d0-cefee1c8f809" providerId="ADAL" clId="{119F12A2-031E-4D2D-BC4C-B19D20568AD9}" dt="2024-09-05T14:58:19.311" v="1257" actId="478"/>
          <ac:picMkLst>
            <pc:docMk/>
            <pc:sldMk cId="2341232317" sldId="2147481748"/>
            <ac:picMk id="16" creationId="{8ECABAC1-D9DD-BDF9-B059-B0A2933FAD6B}"/>
          </ac:picMkLst>
        </pc:picChg>
        <pc:picChg chg="add mod">
          <ac:chgData name="Valerie Sweeney" userId="4d964eea-e45c-42c3-92d0-cefee1c8f809" providerId="ADAL" clId="{119F12A2-031E-4D2D-BC4C-B19D20568AD9}" dt="2024-09-05T14:58:59.352" v="1268" actId="692"/>
          <ac:picMkLst>
            <pc:docMk/>
            <pc:sldMk cId="2341232317" sldId="2147481748"/>
            <ac:picMk id="18" creationId="{E8BC6054-79B4-87A9-D93C-EDBE54080720}"/>
          </ac:picMkLst>
        </pc:picChg>
      </pc:sldChg>
      <pc:sldChg chg="addSp delSp modSp add del mod">
        <pc:chgData name="Valerie Sweeney" userId="4d964eea-e45c-42c3-92d0-cefee1c8f809" providerId="ADAL" clId="{119F12A2-031E-4D2D-BC4C-B19D20568AD9}" dt="2024-09-05T14:56:28.369" v="1229" actId="2696"/>
        <pc:sldMkLst>
          <pc:docMk/>
          <pc:sldMk cId="1455095813" sldId="2147481749"/>
        </pc:sldMkLst>
        <pc:spChg chg="mod">
          <ac:chgData name="Valerie Sweeney" userId="4d964eea-e45c-42c3-92d0-cefee1c8f809" providerId="ADAL" clId="{119F12A2-031E-4D2D-BC4C-B19D20568AD9}" dt="2024-09-05T14:55:12.563" v="1204"/>
          <ac:spMkLst>
            <pc:docMk/>
            <pc:sldMk cId="1455095813" sldId="2147481749"/>
            <ac:spMk id="3" creationId="{045A9CC9-1B43-851B-6932-B08F9EAAEF71}"/>
          </ac:spMkLst>
        </pc:spChg>
        <pc:picChg chg="add mod">
          <ac:chgData name="Valerie Sweeney" userId="4d964eea-e45c-42c3-92d0-cefee1c8f809" providerId="ADAL" clId="{119F12A2-031E-4D2D-BC4C-B19D20568AD9}" dt="2024-09-05T14:51:20.565" v="1124" actId="1076"/>
          <ac:picMkLst>
            <pc:docMk/>
            <pc:sldMk cId="1455095813" sldId="2147481749"/>
            <ac:picMk id="5" creationId="{01506146-A058-077E-A32D-976BBA8A4740}"/>
          </ac:picMkLst>
        </pc:picChg>
        <pc:picChg chg="del">
          <ac:chgData name="Valerie Sweeney" userId="4d964eea-e45c-42c3-92d0-cefee1c8f809" providerId="ADAL" clId="{119F12A2-031E-4D2D-BC4C-B19D20568AD9}" dt="2024-09-05T14:48:49.599" v="894" actId="478"/>
          <ac:picMkLst>
            <pc:docMk/>
            <pc:sldMk cId="1455095813" sldId="2147481749"/>
            <ac:picMk id="14" creationId="{7F4505CF-ADB0-97A0-9514-C4F0E91A48CD}"/>
          </ac:picMkLst>
        </pc:picChg>
      </pc:sldChg>
      <pc:sldChg chg="addSp delSp modSp add mod">
        <pc:chgData name="Valerie Sweeney" userId="4d964eea-e45c-42c3-92d0-cefee1c8f809" providerId="ADAL" clId="{119F12A2-031E-4D2D-BC4C-B19D20568AD9}" dt="2024-09-05T15:10:53.231" v="1499" actId="6549"/>
        <pc:sldMkLst>
          <pc:docMk/>
          <pc:sldMk cId="383134128" sldId="2147481750"/>
        </pc:sldMkLst>
        <pc:spChg chg="mod">
          <ac:chgData name="Valerie Sweeney" userId="4d964eea-e45c-42c3-92d0-cefee1c8f809" providerId="ADAL" clId="{119F12A2-031E-4D2D-BC4C-B19D20568AD9}" dt="2024-09-05T15:10:53.231" v="1499" actId="6549"/>
          <ac:spMkLst>
            <pc:docMk/>
            <pc:sldMk cId="383134128" sldId="2147481750"/>
            <ac:spMk id="3" creationId="{045A9CC9-1B43-851B-6932-B08F9EAAEF71}"/>
          </ac:spMkLst>
        </pc:spChg>
        <pc:picChg chg="del mod">
          <ac:chgData name="Valerie Sweeney" userId="4d964eea-e45c-42c3-92d0-cefee1c8f809" providerId="ADAL" clId="{119F12A2-031E-4D2D-BC4C-B19D20568AD9}" dt="2024-09-05T14:56:36.184" v="1231" actId="478"/>
          <ac:picMkLst>
            <pc:docMk/>
            <pc:sldMk cId="383134128" sldId="2147481750"/>
            <ac:picMk id="5" creationId="{01506146-A058-077E-A32D-976BBA8A4740}"/>
          </ac:picMkLst>
        </pc:picChg>
        <pc:picChg chg="add mod">
          <ac:chgData name="Valerie Sweeney" userId="4d964eea-e45c-42c3-92d0-cefee1c8f809" providerId="ADAL" clId="{119F12A2-031E-4D2D-BC4C-B19D20568AD9}" dt="2024-09-05T15:10:23.707" v="1482" actId="1076"/>
          <ac:picMkLst>
            <pc:docMk/>
            <pc:sldMk cId="383134128" sldId="2147481750"/>
            <ac:picMk id="6" creationId="{3AB58F38-5C1E-D48C-BE3E-C9959C757883}"/>
          </ac:picMkLst>
        </pc:picChg>
      </pc:sldChg>
      <pc:sldChg chg="addSp delSp modSp add mod">
        <pc:chgData name="Valerie Sweeney" userId="4d964eea-e45c-42c3-92d0-cefee1c8f809" providerId="ADAL" clId="{119F12A2-031E-4D2D-BC4C-B19D20568AD9}" dt="2024-09-05T15:11:00.182" v="1501" actId="1076"/>
        <pc:sldMkLst>
          <pc:docMk/>
          <pc:sldMk cId="853132289" sldId="2147481751"/>
        </pc:sldMkLst>
        <pc:spChg chg="mod">
          <ac:chgData name="Valerie Sweeney" userId="4d964eea-e45c-42c3-92d0-cefee1c8f809" providerId="ADAL" clId="{119F12A2-031E-4D2D-BC4C-B19D20568AD9}" dt="2024-09-05T15:10:58.554" v="1500" actId="1076"/>
          <ac:spMkLst>
            <pc:docMk/>
            <pc:sldMk cId="853132289" sldId="2147481751"/>
            <ac:spMk id="3" creationId="{045A9CC9-1B43-851B-6932-B08F9EAAEF71}"/>
          </ac:spMkLst>
        </pc:spChg>
        <pc:picChg chg="del">
          <ac:chgData name="Valerie Sweeney" userId="4d964eea-e45c-42c3-92d0-cefee1c8f809" providerId="ADAL" clId="{119F12A2-031E-4D2D-BC4C-B19D20568AD9}" dt="2024-09-05T14:54:09.081" v="1197" actId="478"/>
          <ac:picMkLst>
            <pc:docMk/>
            <pc:sldMk cId="853132289" sldId="2147481751"/>
            <ac:picMk id="5" creationId="{01506146-A058-077E-A32D-976BBA8A4740}"/>
          </ac:picMkLst>
        </pc:picChg>
        <pc:picChg chg="add del mod">
          <ac:chgData name="Valerie Sweeney" userId="4d964eea-e45c-42c3-92d0-cefee1c8f809" providerId="ADAL" clId="{119F12A2-031E-4D2D-BC4C-B19D20568AD9}" dt="2024-09-05T15:01:35.019" v="1374" actId="478"/>
          <ac:picMkLst>
            <pc:docMk/>
            <pc:sldMk cId="853132289" sldId="2147481751"/>
            <ac:picMk id="6" creationId="{4B6BC432-BCE0-B3DA-CEDB-9FC0DDCA8F95}"/>
          </ac:picMkLst>
        </pc:picChg>
        <pc:picChg chg="add del mod">
          <ac:chgData name="Valerie Sweeney" userId="4d964eea-e45c-42c3-92d0-cefee1c8f809" providerId="ADAL" clId="{119F12A2-031E-4D2D-BC4C-B19D20568AD9}" dt="2024-09-05T15:03:29.213" v="1380" actId="478"/>
          <ac:picMkLst>
            <pc:docMk/>
            <pc:sldMk cId="853132289" sldId="2147481751"/>
            <ac:picMk id="8" creationId="{7F5E65DA-2DA4-A39F-2ED7-C7B73DA64ABE}"/>
          </ac:picMkLst>
        </pc:picChg>
        <pc:picChg chg="add mod">
          <ac:chgData name="Valerie Sweeney" userId="4d964eea-e45c-42c3-92d0-cefee1c8f809" providerId="ADAL" clId="{119F12A2-031E-4D2D-BC4C-B19D20568AD9}" dt="2024-09-05T15:11:00.182" v="1501" actId="1076"/>
          <ac:picMkLst>
            <pc:docMk/>
            <pc:sldMk cId="853132289" sldId="2147481751"/>
            <ac:picMk id="10" creationId="{5BA5747D-636B-B8BA-79FE-2E985A14CAD2}"/>
          </ac:picMkLst>
        </pc:picChg>
      </pc:sldChg>
    </pc:docChg>
  </pc:docChgLst>
  <pc:docChgLst>
    <pc:chgData name="Valerie Sweeney" userId="4d964eea-e45c-42c3-92d0-cefee1c8f809" providerId="ADAL" clId="{04D9A1C5-CC77-48BC-8E9E-FB0D9F9D43AC}"/>
    <pc:docChg chg="undo custSel addSld modSld sldOrd modSection">
      <pc:chgData name="Valerie Sweeney" userId="4d964eea-e45c-42c3-92d0-cefee1c8f809" providerId="ADAL" clId="{04D9A1C5-CC77-48BC-8E9E-FB0D9F9D43AC}" dt="2024-08-08T15:13:16.197" v="1451" actId="20577"/>
      <pc:docMkLst>
        <pc:docMk/>
      </pc:docMkLst>
      <pc:sldChg chg="modSp mod">
        <pc:chgData name="Valerie Sweeney" userId="4d964eea-e45c-42c3-92d0-cefee1c8f809" providerId="ADAL" clId="{04D9A1C5-CC77-48BC-8E9E-FB0D9F9D43AC}" dt="2024-08-06T20:37:00.538" v="1149" actId="15"/>
        <pc:sldMkLst>
          <pc:docMk/>
          <pc:sldMk cId="2157095915" sldId="2147481728"/>
        </pc:sldMkLst>
        <pc:spChg chg="mod">
          <ac:chgData name="Valerie Sweeney" userId="4d964eea-e45c-42c3-92d0-cefee1c8f809" providerId="ADAL" clId="{04D9A1C5-CC77-48BC-8E9E-FB0D9F9D43AC}" dt="2024-08-06T20:37:00.538" v="1149" actId="15"/>
          <ac:spMkLst>
            <pc:docMk/>
            <pc:sldMk cId="2157095915" sldId="2147481728"/>
            <ac:spMk id="3" creationId="{535B9897-F37E-235F-F114-139AA579AD6B}"/>
          </ac:spMkLst>
        </pc:spChg>
      </pc:sldChg>
      <pc:sldChg chg="modSp mod">
        <pc:chgData name="Valerie Sweeney" userId="4d964eea-e45c-42c3-92d0-cefee1c8f809" providerId="ADAL" clId="{04D9A1C5-CC77-48BC-8E9E-FB0D9F9D43AC}" dt="2024-07-25T15:35:11.465" v="1008" actId="692"/>
        <pc:sldMkLst>
          <pc:docMk/>
          <pc:sldMk cId="119066543" sldId="2147481730"/>
        </pc:sldMkLst>
        <pc:picChg chg="mod">
          <ac:chgData name="Valerie Sweeney" userId="4d964eea-e45c-42c3-92d0-cefee1c8f809" providerId="ADAL" clId="{04D9A1C5-CC77-48BC-8E9E-FB0D9F9D43AC}" dt="2024-07-25T15:35:11.465" v="1008" actId="692"/>
          <ac:picMkLst>
            <pc:docMk/>
            <pc:sldMk cId="119066543" sldId="2147481730"/>
            <ac:picMk id="9" creationId="{9A5F383A-612B-BEA4-2563-F11532EF4F10}"/>
          </ac:picMkLst>
        </pc:picChg>
      </pc:sldChg>
      <pc:sldChg chg="modSp mod">
        <pc:chgData name="Valerie Sweeney" userId="4d964eea-e45c-42c3-92d0-cefee1c8f809" providerId="ADAL" clId="{04D9A1C5-CC77-48BC-8E9E-FB0D9F9D43AC}" dt="2024-07-25T15:35:23.853" v="1010" actId="692"/>
        <pc:sldMkLst>
          <pc:docMk/>
          <pc:sldMk cId="3651944814" sldId="2147481731"/>
        </pc:sldMkLst>
        <pc:spChg chg="mod">
          <ac:chgData name="Valerie Sweeney" userId="4d964eea-e45c-42c3-92d0-cefee1c8f809" providerId="ADAL" clId="{04D9A1C5-CC77-48BC-8E9E-FB0D9F9D43AC}" dt="2024-07-25T15:04:42.870" v="232" actId="6549"/>
          <ac:spMkLst>
            <pc:docMk/>
            <pc:sldMk cId="3651944814" sldId="2147481731"/>
            <ac:spMk id="5" creationId="{1FF5E3A5-A791-24EA-3167-D4CB2FE39290}"/>
          </ac:spMkLst>
        </pc:spChg>
        <pc:spChg chg="mod">
          <ac:chgData name="Valerie Sweeney" userId="4d964eea-e45c-42c3-92d0-cefee1c8f809" providerId="ADAL" clId="{04D9A1C5-CC77-48BC-8E9E-FB0D9F9D43AC}" dt="2024-07-25T15:04:46.624" v="233" actId="1076"/>
          <ac:spMkLst>
            <pc:docMk/>
            <pc:sldMk cId="3651944814" sldId="2147481731"/>
            <ac:spMk id="7" creationId="{4A22EC0A-628A-2D7C-69C1-3EF6BA7B2245}"/>
          </ac:spMkLst>
        </pc:spChg>
        <pc:picChg chg="mod ord">
          <ac:chgData name="Valerie Sweeney" userId="4d964eea-e45c-42c3-92d0-cefee1c8f809" providerId="ADAL" clId="{04D9A1C5-CC77-48BC-8E9E-FB0D9F9D43AC}" dt="2024-07-25T15:35:23.853" v="1010" actId="692"/>
          <ac:picMkLst>
            <pc:docMk/>
            <pc:sldMk cId="3651944814" sldId="2147481731"/>
            <ac:picMk id="4" creationId="{2283FA9A-D496-F235-20B5-AF7AAF931488}"/>
          </ac:picMkLst>
        </pc:picChg>
      </pc:sldChg>
      <pc:sldChg chg="modSp mod">
        <pc:chgData name="Valerie Sweeney" userId="4d964eea-e45c-42c3-92d0-cefee1c8f809" providerId="ADAL" clId="{04D9A1C5-CC77-48BC-8E9E-FB0D9F9D43AC}" dt="2024-07-25T15:35:37.102" v="1012" actId="692"/>
        <pc:sldMkLst>
          <pc:docMk/>
          <pc:sldMk cId="1167340259" sldId="2147481732"/>
        </pc:sldMkLst>
        <pc:picChg chg="mod">
          <ac:chgData name="Valerie Sweeney" userId="4d964eea-e45c-42c3-92d0-cefee1c8f809" providerId="ADAL" clId="{04D9A1C5-CC77-48BC-8E9E-FB0D9F9D43AC}" dt="2024-07-25T15:35:37.102" v="1012" actId="692"/>
          <ac:picMkLst>
            <pc:docMk/>
            <pc:sldMk cId="1167340259" sldId="2147481732"/>
            <ac:picMk id="8" creationId="{58B056EB-3465-C164-F0DF-AE6A065DB1C8}"/>
          </ac:picMkLst>
        </pc:picChg>
        <pc:picChg chg="mod">
          <ac:chgData name="Valerie Sweeney" userId="4d964eea-e45c-42c3-92d0-cefee1c8f809" providerId="ADAL" clId="{04D9A1C5-CC77-48BC-8E9E-FB0D9F9D43AC}" dt="2024-07-25T15:35:37.102" v="1012" actId="692"/>
          <ac:picMkLst>
            <pc:docMk/>
            <pc:sldMk cId="1167340259" sldId="2147481732"/>
            <ac:picMk id="12" creationId="{5844B88A-2B3F-446B-9B03-B4D684D825BD}"/>
          </ac:picMkLst>
        </pc:picChg>
      </pc:sldChg>
      <pc:sldChg chg="addSp delSp modSp mod">
        <pc:chgData name="Valerie Sweeney" userId="4d964eea-e45c-42c3-92d0-cefee1c8f809" providerId="ADAL" clId="{04D9A1C5-CC77-48BC-8E9E-FB0D9F9D43AC}" dt="2024-07-25T15:35:48.402" v="1014" actId="692"/>
        <pc:sldMkLst>
          <pc:docMk/>
          <pc:sldMk cId="1985969989" sldId="2147481733"/>
        </pc:sldMkLst>
        <pc:spChg chg="mod">
          <ac:chgData name="Valerie Sweeney" userId="4d964eea-e45c-42c3-92d0-cefee1c8f809" providerId="ADAL" clId="{04D9A1C5-CC77-48BC-8E9E-FB0D9F9D43AC}" dt="2024-07-25T15:02:55.757" v="211" actId="6549"/>
          <ac:spMkLst>
            <pc:docMk/>
            <pc:sldMk cId="1985969989" sldId="2147481733"/>
            <ac:spMk id="5" creationId="{1FF5E3A5-A791-24EA-3167-D4CB2FE39290}"/>
          </ac:spMkLst>
        </pc:spChg>
        <pc:spChg chg="mod">
          <ac:chgData name="Valerie Sweeney" userId="4d964eea-e45c-42c3-92d0-cefee1c8f809" providerId="ADAL" clId="{04D9A1C5-CC77-48BC-8E9E-FB0D9F9D43AC}" dt="2024-07-25T15:04:28.535" v="228" actId="113"/>
          <ac:spMkLst>
            <pc:docMk/>
            <pc:sldMk cId="1985969989" sldId="2147481733"/>
            <ac:spMk id="6" creationId="{422931FA-617E-1517-6BC1-CCEF8E125EB4}"/>
          </ac:spMkLst>
        </pc:spChg>
        <pc:picChg chg="add mod">
          <ac:chgData name="Valerie Sweeney" userId="4d964eea-e45c-42c3-92d0-cefee1c8f809" providerId="ADAL" clId="{04D9A1C5-CC77-48BC-8E9E-FB0D9F9D43AC}" dt="2024-07-25T15:35:48.402" v="1014" actId="692"/>
          <ac:picMkLst>
            <pc:docMk/>
            <pc:sldMk cId="1985969989" sldId="2147481733"/>
            <ac:picMk id="4" creationId="{058D17F9-F24F-E7F9-69BE-975C0F18EA25}"/>
          </ac:picMkLst>
        </pc:picChg>
        <pc:picChg chg="del">
          <ac:chgData name="Valerie Sweeney" userId="4d964eea-e45c-42c3-92d0-cefee1c8f809" providerId="ADAL" clId="{04D9A1C5-CC77-48BC-8E9E-FB0D9F9D43AC}" dt="2024-07-25T15:03:06.733" v="213" actId="478"/>
          <ac:picMkLst>
            <pc:docMk/>
            <pc:sldMk cId="1985969989" sldId="2147481733"/>
            <ac:picMk id="11" creationId="{E5087F56-B9F6-F446-228A-29B2964BE72D}"/>
          </ac:picMkLst>
        </pc:picChg>
        <pc:picChg chg="mod">
          <ac:chgData name="Valerie Sweeney" userId="4d964eea-e45c-42c3-92d0-cefee1c8f809" providerId="ADAL" clId="{04D9A1C5-CC77-48BC-8E9E-FB0D9F9D43AC}" dt="2024-07-25T15:35:48.402" v="1014" actId="692"/>
          <ac:picMkLst>
            <pc:docMk/>
            <pc:sldMk cId="1985969989" sldId="2147481733"/>
            <ac:picMk id="14" creationId="{0BB652A8-A80A-2851-89FA-9B561DBFC37D}"/>
          </ac:picMkLst>
        </pc:picChg>
      </pc:sldChg>
      <pc:sldChg chg="addSp delSp modSp mod">
        <pc:chgData name="Valerie Sweeney" userId="4d964eea-e45c-42c3-92d0-cefee1c8f809" providerId="ADAL" clId="{04D9A1C5-CC77-48BC-8E9E-FB0D9F9D43AC}" dt="2024-07-25T15:42:54.668" v="1078" actId="113"/>
        <pc:sldMkLst>
          <pc:docMk/>
          <pc:sldMk cId="3538136047" sldId="2147481734"/>
        </pc:sldMkLst>
        <pc:spChg chg="mod">
          <ac:chgData name="Valerie Sweeney" userId="4d964eea-e45c-42c3-92d0-cefee1c8f809" providerId="ADAL" clId="{04D9A1C5-CC77-48BC-8E9E-FB0D9F9D43AC}" dt="2024-07-25T15:42:45.100" v="1076" actId="20577"/>
          <ac:spMkLst>
            <pc:docMk/>
            <pc:sldMk cId="3538136047" sldId="2147481734"/>
            <ac:spMk id="5" creationId="{1FF5E3A5-A791-24EA-3167-D4CB2FE39290}"/>
          </ac:spMkLst>
        </pc:spChg>
        <pc:spChg chg="add mod">
          <ac:chgData name="Valerie Sweeney" userId="4d964eea-e45c-42c3-92d0-cefee1c8f809" providerId="ADAL" clId="{04D9A1C5-CC77-48BC-8E9E-FB0D9F9D43AC}" dt="2024-07-25T15:42:54.668" v="1078" actId="113"/>
          <ac:spMkLst>
            <pc:docMk/>
            <pc:sldMk cId="3538136047" sldId="2147481734"/>
            <ac:spMk id="16" creationId="{F536D20E-A1D9-536C-271F-E3EBD0673BC7}"/>
          </ac:spMkLst>
        </pc:spChg>
        <pc:picChg chg="add del mod">
          <ac:chgData name="Valerie Sweeney" userId="4d964eea-e45c-42c3-92d0-cefee1c8f809" providerId="ADAL" clId="{04D9A1C5-CC77-48BC-8E9E-FB0D9F9D43AC}" dt="2024-07-25T15:37:10.579" v="1018" actId="478"/>
          <ac:picMkLst>
            <pc:docMk/>
            <pc:sldMk cId="3538136047" sldId="2147481734"/>
            <ac:picMk id="4" creationId="{2D624B33-4D1A-6D20-3FB7-E10F0E056A21}"/>
          </ac:picMkLst>
        </pc:picChg>
        <pc:picChg chg="add mod">
          <ac:chgData name="Valerie Sweeney" userId="4d964eea-e45c-42c3-92d0-cefee1c8f809" providerId="ADAL" clId="{04D9A1C5-CC77-48BC-8E9E-FB0D9F9D43AC}" dt="2024-07-25T15:42:46.598" v="1077" actId="1076"/>
          <ac:picMkLst>
            <pc:docMk/>
            <pc:sldMk cId="3538136047" sldId="2147481734"/>
            <ac:picMk id="7" creationId="{58194F5F-C7C3-5A92-ECF4-FD26D3F32545}"/>
          </ac:picMkLst>
        </pc:picChg>
        <pc:picChg chg="add del">
          <ac:chgData name="Valerie Sweeney" userId="4d964eea-e45c-42c3-92d0-cefee1c8f809" providerId="ADAL" clId="{04D9A1C5-CC77-48BC-8E9E-FB0D9F9D43AC}" dt="2024-07-25T15:39:35.993" v="1033" actId="22"/>
          <ac:picMkLst>
            <pc:docMk/>
            <pc:sldMk cId="3538136047" sldId="2147481734"/>
            <ac:picMk id="9" creationId="{A0F44810-C719-1539-4D8A-17063BBB7829}"/>
          </ac:picMkLst>
        </pc:picChg>
        <pc:picChg chg="add mod">
          <ac:chgData name="Valerie Sweeney" userId="4d964eea-e45c-42c3-92d0-cefee1c8f809" providerId="ADAL" clId="{04D9A1C5-CC77-48BC-8E9E-FB0D9F9D43AC}" dt="2024-07-25T15:40:50.983" v="1053" actId="1076"/>
          <ac:picMkLst>
            <pc:docMk/>
            <pc:sldMk cId="3538136047" sldId="2147481734"/>
            <ac:picMk id="11" creationId="{49648209-3B30-5967-C3B3-B374B5FEAF1D}"/>
          </ac:picMkLst>
        </pc:picChg>
        <pc:picChg chg="del mod">
          <ac:chgData name="Valerie Sweeney" userId="4d964eea-e45c-42c3-92d0-cefee1c8f809" providerId="ADAL" clId="{04D9A1C5-CC77-48BC-8E9E-FB0D9F9D43AC}" dt="2024-07-25T15:37:15.217" v="1020" actId="478"/>
          <ac:picMkLst>
            <pc:docMk/>
            <pc:sldMk cId="3538136047" sldId="2147481734"/>
            <ac:picMk id="14" creationId="{AC5AE135-7150-6852-E1B9-27A0B8421BC1}"/>
          </ac:picMkLst>
        </pc:picChg>
        <pc:picChg chg="add del mod">
          <ac:chgData name="Valerie Sweeney" userId="4d964eea-e45c-42c3-92d0-cefee1c8f809" providerId="ADAL" clId="{04D9A1C5-CC77-48BC-8E9E-FB0D9F9D43AC}" dt="2024-07-25T15:41:48.826" v="1060" actId="478"/>
          <ac:picMkLst>
            <pc:docMk/>
            <pc:sldMk cId="3538136047" sldId="2147481734"/>
            <ac:picMk id="18" creationId="{BBF2CCC6-4A01-590D-BA59-1AFF418D083B}"/>
          </ac:picMkLst>
        </pc:picChg>
        <pc:picChg chg="add mod">
          <ac:chgData name="Valerie Sweeney" userId="4d964eea-e45c-42c3-92d0-cefee1c8f809" providerId="ADAL" clId="{04D9A1C5-CC77-48BC-8E9E-FB0D9F9D43AC}" dt="2024-07-25T15:42:04.472" v="1064" actId="1036"/>
          <ac:picMkLst>
            <pc:docMk/>
            <pc:sldMk cId="3538136047" sldId="2147481734"/>
            <ac:picMk id="20" creationId="{DE422019-A3DF-A53E-0AA8-9189800C641D}"/>
          </ac:picMkLst>
        </pc:picChg>
        <pc:cxnChg chg="add">
          <ac:chgData name="Valerie Sweeney" userId="4d964eea-e45c-42c3-92d0-cefee1c8f809" providerId="ADAL" clId="{04D9A1C5-CC77-48BC-8E9E-FB0D9F9D43AC}" dt="2024-07-25T15:40:22.439" v="1044" actId="11529"/>
          <ac:cxnSpMkLst>
            <pc:docMk/>
            <pc:sldMk cId="3538136047" sldId="2147481734"/>
            <ac:cxnSpMk id="13" creationId="{4EA99A1D-4BD4-181D-0CFF-EA5FE11486BC}"/>
          </ac:cxnSpMkLst>
        </pc:cxnChg>
      </pc:sldChg>
      <pc:sldChg chg="modSp mod">
        <pc:chgData name="Valerie Sweeney" userId="4d964eea-e45c-42c3-92d0-cefee1c8f809" providerId="ADAL" clId="{04D9A1C5-CC77-48BC-8E9E-FB0D9F9D43AC}" dt="2024-07-25T15:43:47.436" v="1087" actId="692"/>
        <pc:sldMkLst>
          <pc:docMk/>
          <pc:sldMk cId="2909605689" sldId="2147481736"/>
        </pc:sldMkLst>
        <pc:spChg chg="mod">
          <ac:chgData name="Valerie Sweeney" userId="4d964eea-e45c-42c3-92d0-cefee1c8f809" providerId="ADAL" clId="{04D9A1C5-CC77-48BC-8E9E-FB0D9F9D43AC}" dt="2024-07-25T14:55:48.628" v="59" actId="13926"/>
          <ac:spMkLst>
            <pc:docMk/>
            <pc:sldMk cId="2909605689" sldId="2147481736"/>
            <ac:spMk id="5" creationId="{1FF5E3A5-A791-24EA-3167-D4CB2FE39290}"/>
          </ac:spMkLst>
        </pc:spChg>
        <pc:picChg chg="mod">
          <ac:chgData name="Valerie Sweeney" userId="4d964eea-e45c-42c3-92d0-cefee1c8f809" providerId="ADAL" clId="{04D9A1C5-CC77-48BC-8E9E-FB0D9F9D43AC}" dt="2024-07-25T15:43:47.436" v="1087" actId="692"/>
          <ac:picMkLst>
            <pc:docMk/>
            <pc:sldMk cId="2909605689" sldId="2147481736"/>
            <ac:picMk id="4" creationId="{0A618EEB-DA2B-90DC-3CD1-E538F87FB986}"/>
          </ac:picMkLst>
        </pc:picChg>
      </pc:sldChg>
      <pc:sldChg chg="modSp mod">
        <pc:chgData name="Valerie Sweeney" userId="4d964eea-e45c-42c3-92d0-cefee1c8f809" providerId="ADAL" clId="{04D9A1C5-CC77-48BC-8E9E-FB0D9F9D43AC}" dt="2024-07-25T15:43:58.285" v="1089" actId="692"/>
        <pc:sldMkLst>
          <pc:docMk/>
          <pc:sldMk cId="749998994" sldId="2147481737"/>
        </pc:sldMkLst>
        <pc:picChg chg="mod">
          <ac:chgData name="Valerie Sweeney" userId="4d964eea-e45c-42c3-92d0-cefee1c8f809" providerId="ADAL" clId="{04D9A1C5-CC77-48BC-8E9E-FB0D9F9D43AC}" dt="2024-07-25T15:43:58.285" v="1089" actId="692"/>
          <ac:picMkLst>
            <pc:docMk/>
            <pc:sldMk cId="749998994" sldId="2147481737"/>
            <ac:picMk id="9" creationId="{1E97EB91-7203-0B75-3B7D-A8A8B0385992}"/>
          </ac:picMkLst>
        </pc:picChg>
      </pc:sldChg>
      <pc:sldChg chg="addSp delSp modSp add mod">
        <pc:chgData name="Valerie Sweeney" userId="4d964eea-e45c-42c3-92d0-cefee1c8f809" providerId="ADAL" clId="{04D9A1C5-CC77-48BC-8E9E-FB0D9F9D43AC}" dt="2024-08-06T20:38:06.641" v="1163" actId="20577"/>
        <pc:sldMkLst>
          <pc:docMk/>
          <pc:sldMk cId="3331311471" sldId="2147481738"/>
        </pc:sldMkLst>
        <pc:spChg chg="mod">
          <ac:chgData name="Valerie Sweeney" userId="4d964eea-e45c-42c3-92d0-cefee1c8f809" providerId="ADAL" clId="{04D9A1C5-CC77-48BC-8E9E-FB0D9F9D43AC}" dt="2024-08-06T20:38:06.641" v="1163" actId="20577"/>
          <ac:spMkLst>
            <pc:docMk/>
            <pc:sldMk cId="3331311471" sldId="2147481738"/>
            <ac:spMk id="3" creationId="{9B91E75E-D13F-0ECA-4BE2-4F4F64844749}"/>
          </ac:spMkLst>
        </pc:spChg>
        <pc:picChg chg="add del mod">
          <ac:chgData name="Valerie Sweeney" userId="4d964eea-e45c-42c3-92d0-cefee1c8f809" providerId="ADAL" clId="{04D9A1C5-CC77-48BC-8E9E-FB0D9F9D43AC}" dt="2024-07-25T15:05:54.068" v="328" actId="478"/>
          <ac:picMkLst>
            <pc:docMk/>
            <pc:sldMk cId="3331311471" sldId="2147481738"/>
            <ac:picMk id="5" creationId="{C9AC942D-E96C-5A18-FB1E-01E6F6F8B92B}"/>
          </ac:picMkLst>
        </pc:picChg>
        <pc:picChg chg="add mod">
          <ac:chgData name="Valerie Sweeney" userId="4d964eea-e45c-42c3-92d0-cefee1c8f809" providerId="ADAL" clId="{04D9A1C5-CC77-48BC-8E9E-FB0D9F9D43AC}" dt="2024-07-25T15:44:08.954" v="1091" actId="692"/>
          <ac:picMkLst>
            <pc:docMk/>
            <pc:sldMk cId="3331311471" sldId="2147481738"/>
            <ac:picMk id="7" creationId="{416ED667-24B1-225F-5B0E-88758EFC267E}"/>
          </ac:picMkLst>
        </pc:picChg>
        <pc:picChg chg="del">
          <ac:chgData name="Valerie Sweeney" userId="4d964eea-e45c-42c3-92d0-cefee1c8f809" providerId="ADAL" clId="{04D9A1C5-CC77-48BC-8E9E-FB0D9F9D43AC}" dt="2024-07-25T14:57:53.813" v="62" actId="478"/>
          <ac:picMkLst>
            <pc:docMk/>
            <pc:sldMk cId="3331311471" sldId="2147481738"/>
            <ac:picMk id="9" creationId="{1E97EB91-7203-0B75-3B7D-A8A8B0385992}"/>
          </ac:picMkLst>
        </pc:picChg>
        <pc:picChg chg="add mod">
          <ac:chgData name="Valerie Sweeney" userId="4d964eea-e45c-42c3-92d0-cefee1c8f809" providerId="ADAL" clId="{04D9A1C5-CC77-48BC-8E9E-FB0D9F9D43AC}" dt="2024-07-25T15:44:08.954" v="1091" actId="692"/>
          <ac:picMkLst>
            <pc:docMk/>
            <pc:sldMk cId="3331311471" sldId="2147481738"/>
            <ac:picMk id="10" creationId="{0E41A7DE-1D43-1263-1A9F-ADBE585E8999}"/>
          </ac:picMkLst>
        </pc:picChg>
      </pc:sldChg>
      <pc:sldChg chg="addSp delSp modSp add mod">
        <pc:chgData name="Valerie Sweeney" userId="4d964eea-e45c-42c3-92d0-cefee1c8f809" providerId="ADAL" clId="{04D9A1C5-CC77-48BC-8E9E-FB0D9F9D43AC}" dt="2024-07-25T15:44:34.967" v="1097" actId="692"/>
        <pc:sldMkLst>
          <pc:docMk/>
          <pc:sldMk cId="3416005106" sldId="2147481739"/>
        </pc:sldMkLst>
        <pc:spChg chg="mod">
          <ac:chgData name="Valerie Sweeney" userId="4d964eea-e45c-42c3-92d0-cefee1c8f809" providerId="ADAL" clId="{04D9A1C5-CC77-48BC-8E9E-FB0D9F9D43AC}" dt="2024-07-25T15:14:29.768" v="687" actId="255"/>
          <ac:spMkLst>
            <pc:docMk/>
            <pc:sldMk cId="3416005106" sldId="2147481739"/>
            <ac:spMk id="3" creationId="{9B91E75E-D13F-0ECA-4BE2-4F4F64844749}"/>
          </ac:spMkLst>
        </pc:spChg>
        <pc:spChg chg="add mod">
          <ac:chgData name="Valerie Sweeney" userId="4d964eea-e45c-42c3-92d0-cefee1c8f809" providerId="ADAL" clId="{04D9A1C5-CC77-48BC-8E9E-FB0D9F9D43AC}" dt="2024-07-25T15:34:40.941" v="1002" actId="14100"/>
          <ac:spMkLst>
            <pc:docMk/>
            <pc:sldMk cId="3416005106" sldId="2147481739"/>
            <ac:spMk id="8" creationId="{CBCDE773-0FC1-A67E-C8BB-B71BF8662883}"/>
          </ac:spMkLst>
        </pc:spChg>
        <pc:picChg chg="add mod">
          <ac:chgData name="Valerie Sweeney" userId="4d964eea-e45c-42c3-92d0-cefee1c8f809" providerId="ADAL" clId="{04D9A1C5-CC77-48BC-8E9E-FB0D9F9D43AC}" dt="2024-07-25T15:44:34.967" v="1097" actId="692"/>
          <ac:picMkLst>
            <pc:docMk/>
            <pc:sldMk cId="3416005106" sldId="2147481739"/>
            <ac:picMk id="5" creationId="{A90CD6A9-57BA-28D3-9802-8C05D31AE11A}"/>
          </ac:picMkLst>
        </pc:picChg>
        <pc:picChg chg="del">
          <ac:chgData name="Valerie Sweeney" userId="4d964eea-e45c-42c3-92d0-cefee1c8f809" providerId="ADAL" clId="{04D9A1C5-CC77-48BC-8E9E-FB0D9F9D43AC}" dt="2024-07-25T15:08:40.596" v="385" actId="478"/>
          <ac:picMkLst>
            <pc:docMk/>
            <pc:sldMk cId="3416005106" sldId="2147481739"/>
            <ac:picMk id="7" creationId="{416ED667-24B1-225F-5B0E-88758EFC267E}"/>
          </ac:picMkLst>
        </pc:picChg>
        <pc:picChg chg="del">
          <ac:chgData name="Valerie Sweeney" userId="4d964eea-e45c-42c3-92d0-cefee1c8f809" providerId="ADAL" clId="{04D9A1C5-CC77-48BC-8E9E-FB0D9F9D43AC}" dt="2024-07-25T15:08:43.248" v="387" actId="478"/>
          <ac:picMkLst>
            <pc:docMk/>
            <pc:sldMk cId="3416005106" sldId="2147481739"/>
            <ac:picMk id="10" creationId="{0E41A7DE-1D43-1263-1A9F-ADBE585E8999}"/>
          </ac:picMkLst>
        </pc:picChg>
        <pc:picChg chg="add mod">
          <ac:chgData name="Valerie Sweeney" userId="4d964eea-e45c-42c3-92d0-cefee1c8f809" providerId="ADAL" clId="{04D9A1C5-CC77-48BC-8E9E-FB0D9F9D43AC}" dt="2024-07-25T15:44:34.967" v="1097" actId="692"/>
          <ac:picMkLst>
            <pc:docMk/>
            <pc:sldMk cId="3416005106" sldId="2147481739"/>
            <ac:picMk id="11" creationId="{35D652B8-998C-5B8E-3130-B1D11127D6D3}"/>
          </ac:picMkLst>
        </pc:picChg>
      </pc:sldChg>
      <pc:sldChg chg="addSp delSp modSp add mod">
        <pc:chgData name="Valerie Sweeney" userId="4d964eea-e45c-42c3-92d0-cefee1c8f809" providerId="ADAL" clId="{04D9A1C5-CC77-48BC-8E9E-FB0D9F9D43AC}" dt="2024-07-25T15:44:45.987" v="1099" actId="692"/>
        <pc:sldMkLst>
          <pc:docMk/>
          <pc:sldMk cId="576123715" sldId="2147481740"/>
        </pc:sldMkLst>
        <pc:spChg chg="mod">
          <ac:chgData name="Valerie Sweeney" userId="4d964eea-e45c-42c3-92d0-cefee1c8f809" providerId="ADAL" clId="{04D9A1C5-CC77-48BC-8E9E-FB0D9F9D43AC}" dt="2024-07-25T15:28:57.368" v="819" actId="6549"/>
          <ac:spMkLst>
            <pc:docMk/>
            <pc:sldMk cId="576123715" sldId="2147481740"/>
            <ac:spMk id="3" creationId="{9B91E75E-D13F-0ECA-4BE2-4F4F64844749}"/>
          </ac:spMkLst>
        </pc:spChg>
        <pc:spChg chg="add mod">
          <ac:chgData name="Valerie Sweeney" userId="4d964eea-e45c-42c3-92d0-cefee1c8f809" providerId="ADAL" clId="{04D9A1C5-CC77-48BC-8E9E-FB0D9F9D43AC}" dt="2024-07-25T15:34:21.567" v="996" actId="6549"/>
          <ac:spMkLst>
            <pc:docMk/>
            <pc:sldMk cId="576123715" sldId="2147481740"/>
            <ac:spMk id="8" creationId="{1D24D73D-5434-3DFC-5B53-22B9E8FC4195}"/>
          </ac:spMkLst>
        </pc:spChg>
        <pc:picChg chg="del">
          <ac:chgData name="Valerie Sweeney" userId="4d964eea-e45c-42c3-92d0-cefee1c8f809" providerId="ADAL" clId="{04D9A1C5-CC77-48BC-8E9E-FB0D9F9D43AC}" dt="2024-07-25T15:12:23.998" v="610" actId="478"/>
          <ac:picMkLst>
            <pc:docMk/>
            <pc:sldMk cId="576123715" sldId="2147481740"/>
            <ac:picMk id="5" creationId="{A90CD6A9-57BA-28D3-9802-8C05D31AE11A}"/>
          </ac:picMkLst>
        </pc:picChg>
        <pc:picChg chg="add del mod">
          <ac:chgData name="Valerie Sweeney" userId="4d964eea-e45c-42c3-92d0-cefee1c8f809" providerId="ADAL" clId="{04D9A1C5-CC77-48BC-8E9E-FB0D9F9D43AC}" dt="2024-07-25T15:29:12.477" v="823" actId="478"/>
          <ac:picMkLst>
            <pc:docMk/>
            <pc:sldMk cId="576123715" sldId="2147481740"/>
            <ac:picMk id="6" creationId="{64929AA7-E5B1-8176-5BA4-685BB21823A5}"/>
          </ac:picMkLst>
        </pc:picChg>
        <pc:picChg chg="add mod">
          <ac:chgData name="Valerie Sweeney" userId="4d964eea-e45c-42c3-92d0-cefee1c8f809" providerId="ADAL" clId="{04D9A1C5-CC77-48BC-8E9E-FB0D9F9D43AC}" dt="2024-07-25T15:44:45.987" v="1099" actId="692"/>
          <ac:picMkLst>
            <pc:docMk/>
            <pc:sldMk cId="576123715" sldId="2147481740"/>
            <ac:picMk id="10" creationId="{F6CF63FE-C1C1-D038-20B9-7C8E5BF60348}"/>
          </ac:picMkLst>
        </pc:picChg>
        <pc:picChg chg="add mod">
          <ac:chgData name="Valerie Sweeney" userId="4d964eea-e45c-42c3-92d0-cefee1c8f809" providerId="ADAL" clId="{04D9A1C5-CC77-48BC-8E9E-FB0D9F9D43AC}" dt="2024-07-25T15:44:45.987" v="1099" actId="692"/>
          <ac:picMkLst>
            <pc:docMk/>
            <pc:sldMk cId="576123715" sldId="2147481740"/>
            <ac:picMk id="12" creationId="{B2E0DA0E-2A0E-B7F5-B14A-0747934B488A}"/>
          </ac:picMkLst>
        </pc:picChg>
      </pc:sldChg>
      <pc:sldChg chg="delSp modSp add mod ord">
        <pc:chgData name="Valerie Sweeney" userId="4d964eea-e45c-42c3-92d0-cefee1c8f809" providerId="ADAL" clId="{04D9A1C5-CC77-48BC-8E9E-FB0D9F9D43AC}" dt="2024-08-08T15:13:16.197" v="1451" actId="20577"/>
        <pc:sldMkLst>
          <pc:docMk/>
          <pc:sldMk cId="1376859024" sldId="2147481741"/>
        </pc:sldMkLst>
        <pc:spChg chg="mod">
          <ac:chgData name="Valerie Sweeney" userId="4d964eea-e45c-42c3-92d0-cefee1c8f809" providerId="ADAL" clId="{04D9A1C5-CC77-48BC-8E9E-FB0D9F9D43AC}" dt="2024-08-08T15:13:16.197" v="1451" actId="20577"/>
          <ac:spMkLst>
            <pc:docMk/>
            <pc:sldMk cId="1376859024" sldId="2147481741"/>
            <ac:spMk id="3" creationId="{9B91E75E-D13F-0ECA-4BE2-4F4F64844749}"/>
          </ac:spMkLst>
        </pc:spChg>
        <pc:spChg chg="del">
          <ac:chgData name="Valerie Sweeney" userId="4d964eea-e45c-42c3-92d0-cefee1c8f809" providerId="ADAL" clId="{04D9A1C5-CC77-48BC-8E9E-FB0D9F9D43AC}" dt="2024-07-25T15:58:45.030" v="1105" actId="478"/>
          <ac:spMkLst>
            <pc:docMk/>
            <pc:sldMk cId="1376859024" sldId="2147481741"/>
            <ac:spMk id="8" creationId="{CBCDE773-0FC1-A67E-C8BB-B71BF8662883}"/>
          </ac:spMkLst>
        </pc:spChg>
        <pc:picChg chg="del">
          <ac:chgData name="Valerie Sweeney" userId="4d964eea-e45c-42c3-92d0-cefee1c8f809" providerId="ADAL" clId="{04D9A1C5-CC77-48BC-8E9E-FB0D9F9D43AC}" dt="2024-07-25T15:58:43.917" v="1104" actId="478"/>
          <ac:picMkLst>
            <pc:docMk/>
            <pc:sldMk cId="1376859024" sldId="2147481741"/>
            <ac:picMk id="5" creationId="{A90CD6A9-57BA-28D3-9802-8C05D31AE11A}"/>
          </ac:picMkLst>
        </pc:picChg>
        <pc:picChg chg="del">
          <ac:chgData name="Valerie Sweeney" userId="4d964eea-e45c-42c3-92d0-cefee1c8f809" providerId="ADAL" clId="{04D9A1C5-CC77-48BC-8E9E-FB0D9F9D43AC}" dt="2024-07-25T15:58:45.959" v="1106" actId="478"/>
          <ac:picMkLst>
            <pc:docMk/>
            <pc:sldMk cId="1376859024" sldId="2147481741"/>
            <ac:picMk id="11" creationId="{35D652B8-998C-5B8E-3130-B1D11127D6D3}"/>
          </ac:picMkLst>
        </pc:picChg>
      </pc:sldChg>
      <pc:sldChg chg="delSp modSp new mod">
        <pc:chgData name="Valerie Sweeney" userId="4d964eea-e45c-42c3-92d0-cefee1c8f809" providerId="ADAL" clId="{04D9A1C5-CC77-48BC-8E9E-FB0D9F9D43AC}" dt="2024-08-08T14:41:48.971" v="1431" actId="115"/>
        <pc:sldMkLst>
          <pc:docMk/>
          <pc:sldMk cId="1988946864" sldId="2147481742"/>
        </pc:sldMkLst>
        <pc:spChg chg="del">
          <ac:chgData name="Valerie Sweeney" userId="4d964eea-e45c-42c3-92d0-cefee1c8f809" providerId="ADAL" clId="{04D9A1C5-CC77-48BC-8E9E-FB0D9F9D43AC}" dt="2024-08-08T14:36:38.750" v="1320" actId="478"/>
          <ac:spMkLst>
            <pc:docMk/>
            <pc:sldMk cId="1988946864" sldId="2147481742"/>
            <ac:spMk id="2" creationId="{972B6052-EF40-5FA7-CF01-256323369AF5}"/>
          </ac:spMkLst>
        </pc:spChg>
        <pc:spChg chg="mod">
          <ac:chgData name="Valerie Sweeney" userId="4d964eea-e45c-42c3-92d0-cefee1c8f809" providerId="ADAL" clId="{04D9A1C5-CC77-48BC-8E9E-FB0D9F9D43AC}" dt="2024-08-08T14:41:48.971" v="1431" actId="115"/>
          <ac:spMkLst>
            <pc:docMk/>
            <pc:sldMk cId="1988946864" sldId="2147481742"/>
            <ac:spMk id="3" creationId="{0636E004-22BA-0FE8-7A1B-A98B02E36705}"/>
          </ac:spMkLst>
        </pc:spChg>
        <pc:spChg chg="mod">
          <ac:chgData name="Valerie Sweeney" userId="4d964eea-e45c-42c3-92d0-cefee1c8f809" providerId="ADAL" clId="{04D9A1C5-CC77-48BC-8E9E-FB0D9F9D43AC}" dt="2024-08-08T14:35:20.819" v="1184" actId="20577"/>
          <ac:spMkLst>
            <pc:docMk/>
            <pc:sldMk cId="1988946864" sldId="2147481742"/>
            <ac:spMk id="4" creationId="{3623E274-AFA8-637F-BA04-2BDC4CE44245}"/>
          </ac:spMkLst>
        </pc:spChg>
      </pc:sldChg>
      <pc:sldChg chg="modSp add mod ord">
        <pc:chgData name="Valerie Sweeney" userId="4d964eea-e45c-42c3-92d0-cefee1c8f809" providerId="ADAL" clId="{04D9A1C5-CC77-48BC-8E9E-FB0D9F9D43AC}" dt="2024-08-08T14:41:53.575" v="1432" actId="115"/>
        <pc:sldMkLst>
          <pc:docMk/>
          <pc:sldMk cId="111085369" sldId="2147481743"/>
        </pc:sldMkLst>
        <pc:spChg chg="mod">
          <ac:chgData name="Valerie Sweeney" userId="4d964eea-e45c-42c3-92d0-cefee1c8f809" providerId="ADAL" clId="{04D9A1C5-CC77-48BC-8E9E-FB0D9F9D43AC}" dt="2024-08-08T14:41:53.575" v="1432" actId="115"/>
          <ac:spMkLst>
            <pc:docMk/>
            <pc:sldMk cId="111085369" sldId="2147481743"/>
            <ac:spMk id="3" creationId="{0636E004-22BA-0FE8-7A1B-A98B02E36705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2F17359-000A-9044-B834-9FBD0018D52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C98B882-BA21-D947-B59A-B375F7B018C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E773F5E-F60B-3D42-A6DD-6D5611C2F6EE}" type="datetimeFigureOut">
              <a:rPr lang="en-US" smtClean="0"/>
              <a:t>9/5/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19AD5B-1A75-1A4A-8459-A96AB79E9D2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9C6818-84EB-2D43-AA44-FC64C4595BF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1B28A1AC-D174-D44D-BB31-612041F19AA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51703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59901F41-ECC1-0E45-83C4-0AC333A9FC47}" type="datetimeFigureOut">
              <a:rPr lang="en-US" smtClean="0"/>
              <a:t>9/5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C5057181-1016-2143-9A88-33F72A653E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37581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FEA95D-A425-44A7-A4F7-138A4EDBEA15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28660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3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3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3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3.png"/><Relationship Id="rId4" Type="http://schemas.openxmlformats.org/officeDocument/2006/relationships/image" Target="../media/image3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2891DA-9398-2E0B-76BC-AE9F8A37DC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C103B1-6620-36AE-A366-7B9BBA4CE0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32996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  <p:sp>
        <p:nvSpPr>
          <p:cNvPr id="141" name="Title Text"/>
          <p:cNvSpPr txBox="1">
            <a:spLocks noGrp="1"/>
          </p:cNvSpPr>
          <p:nvPr>
            <p:ph type="title"/>
          </p:nvPr>
        </p:nvSpPr>
        <p:spPr>
          <a:xfrm>
            <a:off x="598556" y="62201"/>
            <a:ext cx="11502889" cy="1083379"/>
          </a:xfrm>
          <a:prstGeom prst="rect">
            <a:avLst/>
          </a:prstGeom>
        </p:spPr>
        <p:txBody>
          <a:bodyPr anchor="ctr"/>
          <a:lstStyle/>
          <a:p>
            <a:r>
              <a:t>Title Text</a:t>
            </a:r>
          </a:p>
        </p:txBody>
      </p:sp>
      <p:sp>
        <p:nvSpPr>
          <p:cNvPr id="142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7485" y="1484245"/>
            <a:ext cx="11501968" cy="959487"/>
          </a:xfrm>
          <a:prstGeom prst="rect">
            <a:avLst/>
          </a:prstGeom>
        </p:spPr>
        <p:txBody>
          <a:bodyPr/>
          <a:lstStyle>
            <a:lvl1pPr marL="0" indent="0">
              <a:buClrTx/>
              <a:buSzTx/>
              <a:buFontTx/>
              <a:buNone/>
              <a:defRPr sz="1600" b="1">
                <a:solidFill>
                  <a:schemeClr val="accent3"/>
                </a:solidFill>
                <a:latin typeface="+mj-lt"/>
                <a:ea typeface="+mj-ea"/>
                <a:cs typeface="+mj-cs"/>
                <a:sym typeface="Gill Sans MT"/>
              </a:defRPr>
            </a:lvl1pPr>
            <a:lvl2pPr marL="655932" indent="-290179">
              <a:buClrTx/>
              <a:buFontTx/>
              <a:buChar char="‣"/>
              <a:defRPr sz="1600" b="1">
                <a:solidFill>
                  <a:schemeClr val="accent3"/>
                </a:solidFill>
                <a:latin typeface="+mj-lt"/>
                <a:ea typeface="+mj-ea"/>
                <a:cs typeface="+mj-cs"/>
                <a:sym typeface="Gill Sans MT"/>
              </a:defRPr>
            </a:lvl2pPr>
            <a:lvl3pPr marL="1082620" indent="-351119">
              <a:buClrTx/>
              <a:buFontTx/>
              <a:buChar char="‣"/>
              <a:defRPr sz="1600" b="1">
                <a:solidFill>
                  <a:schemeClr val="accent3"/>
                </a:solidFill>
                <a:latin typeface="+mj-lt"/>
                <a:ea typeface="+mj-ea"/>
                <a:cs typeface="+mj-cs"/>
                <a:sym typeface="Gill Sans MT"/>
              </a:defRPr>
            </a:lvl3pPr>
            <a:lvl4pPr marL="1448373" indent="-351119">
              <a:buClrTx/>
              <a:buFontTx/>
              <a:buChar char="‣"/>
              <a:defRPr sz="1600" b="1">
                <a:solidFill>
                  <a:schemeClr val="accent3"/>
                </a:solidFill>
                <a:latin typeface="+mj-lt"/>
                <a:ea typeface="+mj-ea"/>
                <a:cs typeface="+mj-cs"/>
                <a:sym typeface="Gill Sans MT"/>
              </a:defRPr>
            </a:lvl4pPr>
            <a:lvl5pPr marL="1814124" indent="-351119">
              <a:buClrTx/>
              <a:buFontTx/>
              <a:buChar char="‣"/>
              <a:defRPr sz="1600" b="1">
                <a:solidFill>
                  <a:schemeClr val="accent3"/>
                </a:solidFill>
                <a:latin typeface="+mj-lt"/>
                <a:ea typeface="+mj-ea"/>
                <a:cs typeface="+mj-cs"/>
                <a:sym typeface="Gill Sans MT"/>
              </a:defRPr>
            </a:lvl5pPr>
          </a:lstStyle>
          <a:p>
            <a:r>
              <a:t>Add Subtitle Her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</p:spTree>
    <p:extLst>
      <p:ext uri="{BB962C8B-B14F-4D97-AF65-F5344CB8AC3E}">
        <p14:creationId xmlns:p14="http://schemas.microsoft.com/office/powerpoint/2010/main" val="435933077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lass&#10;&#10;Description automatically generated">
            <a:extLst>
              <a:ext uri="{FF2B5EF4-FFF2-40B4-BE49-F238E27FC236}">
                <a16:creationId xmlns:a16="http://schemas.microsoft.com/office/drawing/2014/main" id="{358E3685-993B-E24A-BC46-9CE5189B95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4114800"/>
            <a:ext cx="12192000" cy="27432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91E9492-B427-AE4E-9DD4-E488E99B5467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62451" y="4114800"/>
            <a:ext cx="0" cy="2774296"/>
          </a:xfrm>
          <a:prstGeom prst="line">
            <a:avLst/>
          </a:prstGeom>
          <a:ln w="63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phic 5">
            <a:extLst>
              <a:ext uri="{FF2B5EF4-FFF2-40B4-BE49-F238E27FC236}">
                <a16:creationId xmlns:a16="http://schemas.microsoft.com/office/drawing/2014/main" id="{267FF259-5717-314D-B613-B551674F2C2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03375" y="1533295"/>
            <a:ext cx="4585252" cy="172405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5DC119F-33DD-8242-8943-A9B5ED8E6357}"/>
              </a:ext>
            </a:extLst>
          </p:cNvPr>
          <p:cNvCxnSpPr>
            <a:cxnSpLocks/>
          </p:cNvCxnSpPr>
          <p:nvPr userDrawn="1"/>
        </p:nvCxnSpPr>
        <p:spPr>
          <a:xfrm>
            <a:off x="11771384" y="2"/>
            <a:ext cx="0" cy="4114799"/>
          </a:xfrm>
          <a:prstGeom prst="line">
            <a:avLst/>
          </a:prstGeom>
          <a:ln w="6350" cap="rnd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EBFA9FD1-17C3-934E-8243-812118B42B55}"/>
              </a:ext>
            </a:extLst>
          </p:cNvPr>
          <p:cNvSpPr/>
          <p:nvPr userDrawn="1"/>
        </p:nvSpPr>
        <p:spPr>
          <a:xfrm>
            <a:off x="1" y="1"/>
            <a:ext cx="430836" cy="6858000"/>
          </a:xfrm>
          <a:prstGeom prst="rect">
            <a:avLst/>
          </a:prstGeom>
          <a:solidFill>
            <a:schemeClr val="bg1">
              <a:lumMod val="20000"/>
              <a:lumOff val="8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30F6979-1BC7-9644-A58D-4F4FFCA632CA}"/>
              </a:ext>
            </a:extLst>
          </p:cNvPr>
          <p:cNvCxnSpPr>
            <a:cxnSpLocks/>
          </p:cNvCxnSpPr>
          <p:nvPr userDrawn="1"/>
        </p:nvCxnSpPr>
        <p:spPr>
          <a:xfrm>
            <a:off x="430836" y="0"/>
            <a:ext cx="0" cy="6858000"/>
          </a:xfrm>
          <a:prstGeom prst="line">
            <a:avLst/>
          </a:prstGeom>
          <a:ln w="6350" cap="rnd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876DF16-72FF-6546-B33E-6FAAEC203B89}"/>
              </a:ext>
            </a:extLst>
          </p:cNvPr>
          <p:cNvCxnSpPr>
            <a:cxnSpLocks/>
          </p:cNvCxnSpPr>
          <p:nvPr userDrawn="1"/>
        </p:nvCxnSpPr>
        <p:spPr>
          <a:xfrm flipV="1">
            <a:off x="430836" y="4114801"/>
            <a:ext cx="0" cy="2743199"/>
          </a:xfrm>
          <a:prstGeom prst="line">
            <a:avLst/>
          </a:prstGeom>
          <a:ln w="63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phic 9">
            <a:extLst>
              <a:ext uri="{FF2B5EF4-FFF2-40B4-BE49-F238E27FC236}">
                <a16:creationId xmlns:a16="http://schemas.microsoft.com/office/drawing/2014/main" id="{72F61CFC-39FF-FD98-0517-695E2318AC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15000"/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5665" r="52109" b="15809"/>
          <a:stretch/>
        </p:blipFill>
        <p:spPr>
          <a:xfrm rot="5400000" flipH="1">
            <a:off x="8331598" y="634984"/>
            <a:ext cx="4083701" cy="2813739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B1D163AD-FA0F-2F45-DB47-B8041428A1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15000"/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9987" b="53353"/>
          <a:stretch/>
        </p:blipFill>
        <p:spPr>
          <a:xfrm rot="5400000">
            <a:off x="-307084" y="746852"/>
            <a:ext cx="4083707" cy="2590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845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3F2443A-AA37-3E44-8C98-A20C8F686D33}"/>
              </a:ext>
            </a:extLst>
          </p:cNvPr>
          <p:cNvCxnSpPr>
            <a:cxnSpLocks/>
          </p:cNvCxnSpPr>
          <p:nvPr/>
        </p:nvCxnSpPr>
        <p:spPr>
          <a:xfrm>
            <a:off x="0" y="1036177"/>
            <a:ext cx="12192000" cy="0"/>
          </a:xfrm>
          <a:prstGeom prst="line">
            <a:avLst/>
          </a:prstGeom>
          <a:ln w="6350" cap="rnd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2D76F924-4533-6447-8EA4-CD0397FF3DA9}"/>
              </a:ext>
            </a:extLst>
          </p:cNvPr>
          <p:cNvSpPr/>
          <p:nvPr/>
        </p:nvSpPr>
        <p:spPr>
          <a:xfrm>
            <a:off x="0" y="1033040"/>
            <a:ext cx="430836" cy="5824960"/>
          </a:xfrm>
          <a:prstGeom prst="rect">
            <a:avLst/>
          </a:prstGeom>
          <a:solidFill>
            <a:schemeClr val="bg1">
              <a:lumMod val="20000"/>
              <a:lumOff val="8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8334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07DA4105-6A84-E64E-BEBD-4E1944041F6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9448" y="116957"/>
            <a:ext cx="11452551" cy="905449"/>
          </a:xfrm>
        </p:spPr>
        <p:txBody>
          <a:bodyPr lIns="0" rIns="0" bIns="45720" anchor="b">
            <a:noAutofit/>
          </a:bodyPr>
          <a:lstStyle>
            <a:lvl1pPr algn="l">
              <a:lnSpc>
                <a:spcPct val="85000"/>
              </a:lnSpc>
              <a:defRPr sz="2800" b="1" i="0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5EF924D-23E6-D244-A1B7-E762C020256B}"/>
              </a:ext>
            </a:extLst>
          </p:cNvPr>
          <p:cNvCxnSpPr>
            <a:cxnSpLocks/>
          </p:cNvCxnSpPr>
          <p:nvPr/>
        </p:nvCxnSpPr>
        <p:spPr>
          <a:xfrm>
            <a:off x="430836" y="0"/>
            <a:ext cx="0" cy="6858000"/>
          </a:xfrm>
          <a:prstGeom prst="line">
            <a:avLst/>
          </a:prstGeom>
          <a:ln w="6350" cap="rnd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0A07592-6068-93C1-2E28-69FF8F30E7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9448" y="5918199"/>
            <a:ext cx="4162752" cy="752475"/>
          </a:xfrm>
        </p:spPr>
        <p:txBody>
          <a:bodyPr anchor="b">
            <a:normAutofit/>
          </a:bodyPr>
          <a:lstStyle>
            <a:lvl1pPr marL="0" indent="0">
              <a:lnSpc>
                <a:spcPct val="80000"/>
              </a:lnSpc>
              <a:spcBef>
                <a:spcPts val="400"/>
              </a:spcBef>
              <a:buNone/>
              <a:defRPr sz="700">
                <a:solidFill>
                  <a:schemeClr val="bg2"/>
                </a:solidFill>
              </a:defRPr>
            </a:lvl1pPr>
            <a:lvl2pPr marL="365760" indent="0">
              <a:buNone/>
              <a:defRPr sz="700">
                <a:solidFill>
                  <a:schemeClr val="bg2"/>
                </a:solidFill>
              </a:defRPr>
            </a:lvl2pPr>
            <a:lvl3pPr marL="822960" indent="0">
              <a:buNone/>
              <a:defRPr sz="700">
                <a:solidFill>
                  <a:schemeClr val="bg2"/>
                </a:solidFill>
              </a:defRPr>
            </a:lvl3pPr>
            <a:lvl4pPr marL="1371600" indent="0">
              <a:buNone/>
              <a:defRPr sz="700">
                <a:solidFill>
                  <a:schemeClr val="bg2"/>
                </a:solidFill>
              </a:defRPr>
            </a:lvl4pPr>
            <a:lvl5pPr marL="1828800" indent="0"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C53F7DD-DFAE-F0F7-82D4-60A8B16029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3960" y="6366005"/>
            <a:ext cx="1158566" cy="435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757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04F816E-1E66-A594-5D21-01354D07D9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9446" y="5825363"/>
            <a:ext cx="4162753" cy="863600"/>
          </a:xfrm>
        </p:spPr>
        <p:txBody>
          <a:bodyPr anchor="b">
            <a:normAutofit/>
          </a:bodyPr>
          <a:lstStyle>
            <a:lvl1pPr marL="0" indent="0">
              <a:lnSpc>
                <a:spcPct val="80000"/>
              </a:lnSpc>
              <a:spcBef>
                <a:spcPts val="400"/>
              </a:spcBef>
              <a:buNone/>
              <a:defRPr sz="700">
                <a:solidFill>
                  <a:schemeClr val="bg2"/>
                </a:solidFill>
              </a:defRPr>
            </a:lvl1pPr>
            <a:lvl2pPr marL="365760" indent="0">
              <a:buNone/>
              <a:defRPr sz="700">
                <a:solidFill>
                  <a:schemeClr val="bg2"/>
                </a:solidFill>
              </a:defRPr>
            </a:lvl2pPr>
            <a:lvl3pPr marL="822960" indent="0">
              <a:buNone/>
              <a:defRPr sz="700">
                <a:solidFill>
                  <a:schemeClr val="bg2"/>
                </a:solidFill>
              </a:defRPr>
            </a:lvl3pPr>
            <a:lvl4pPr marL="1371600" indent="0">
              <a:buNone/>
              <a:defRPr sz="700">
                <a:solidFill>
                  <a:schemeClr val="bg2"/>
                </a:solidFill>
              </a:defRPr>
            </a:lvl4pPr>
            <a:lvl5pPr marL="1828800" indent="0">
              <a:buNone/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2A283D6-D3AB-874F-976C-668BDE35C76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39424" y="1400507"/>
            <a:ext cx="11135076" cy="4088779"/>
          </a:xfrm>
        </p:spPr>
        <p:txBody>
          <a:bodyPr>
            <a:noAutofit/>
          </a:bodyPr>
          <a:lstStyle>
            <a:lvl1pPr marL="173038" indent="-173038">
              <a:lnSpc>
                <a:spcPct val="89000"/>
              </a:lnSpc>
              <a:spcBef>
                <a:spcPts val="6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1pPr>
            <a:lvl2pPr marL="284163" indent="-111125">
              <a:lnSpc>
                <a:spcPct val="89000"/>
              </a:lnSpc>
              <a:spcBef>
                <a:spcPts val="600"/>
              </a:spcBef>
              <a:buClr>
                <a:schemeClr val="accent4"/>
              </a:buClr>
              <a:buFont typeface="Arial" panose="020B0604020202020204" pitchFamily="34" charset="0"/>
              <a:buChar char="­"/>
              <a:defRPr sz="1400">
                <a:solidFill>
                  <a:schemeClr val="bg1"/>
                </a:solidFill>
              </a:defRPr>
            </a:lvl2pPr>
            <a:lvl3pPr marL="960120" indent="-137160">
              <a:lnSpc>
                <a:spcPct val="100000"/>
              </a:lnSpc>
              <a:spcBef>
                <a:spcPts val="12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3pPr>
            <a:lvl4pPr marL="1600200" indent="-228600">
              <a:lnSpc>
                <a:spcPct val="100000"/>
              </a:lnSpc>
              <a:spcBef>
                <a:spcPts val="12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  <a:lvl5pPr marL="2057400" indent="-228600">
              <a:lnSpc>
                <a:spcPct val="100000"/>
              </a:lnSpc>
              <a:spcBef>
                <a:spcPts val="12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3F2443A-AA37-3E44-8C98-A20C8F686D33}"/>
              </a:ext>
            </a:extLst>
          </p:cNvPr>
          <p:cNvCxnSpPr>
            <a:cxnSpLocks/>
          </p:cNvCxnSpPr>
          <p:nvPr/>
        </p:nvCxnSpPr>
        <p:spPr>
          <a:xfrm>
            <a:off x="0" y="1036177"/>
            <a:ext cx="12192000" cy="0"/>
          </a:xfrm>
          <a:prstGeom prst="line">
            <a:avLst/>
          </a:prstGeom>
          <a:ln w="6350" cap="rnd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2D76F924-4533-6447-8EA4-CD0397FF3DA9}"/>
              </a:ext>
            </a:extLst>
          </p:cNvPr>
          <p:cNvSpPr/>
          <p:nvPr/>
        </p:nvSpPr>
        <p:spPr>
          <a:xfrm>
            <a:off x="0" y="1033040"/>
            <a:ext cx="430836" cy="5824960"/>
          </a:xfrm>
          <a:prstGeom prst="rect">
            <a:avLst/>
          </a:prstGeom>
          <a:solidFill>
            <a:schemeClr val="bg1">
              <a:lumMod val="20000"/>
              <a:lumOff val="8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8334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5EF924D-23E6-D244-A1B7-E762C020256B}"/>
              </a:ext>
            </a:extLst>
          </p:cNvPr>
          <p:cNvCxnSpPr>
            <a:cxnSpLocks/>
          </p:cNvCxnSpPr>
          <p:nvPr/>
        </p:nvCxnSpPr>
        <p:spPr>
          <a:xfrm>
            <a:off x="430836" y="0"/>
            <a:ext cx="0" cy="6858000"/>
          </a:xfrm>
          <a:prstGeom prst="line">
            <a:avLst/>
          </a:prstGeom>
          <a:ln w="6350" cap="rnd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F7C732C6-520F-F0FA-3BCB-723F6A0B680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9448" y="116957"/>
            <a:ext cx="11452551" cy="905449"/>
          </a:xfrm>
        </p:spPr>
        <p:txBody>
          <a:bodyPr lIns="0" rIns="0" bIns="45720" anchor="b">
            <a:noAutofit/>
          </a:bodyPr>
          <a:lstStyle>
            <a:lvl1pPr algn="l">
              <a:lnSpc>
                <a:spcPct val="85000"/>
              </a:lnSpc>
              <a:defRPr sz="2800" b="1" i="0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8912A8A-EAB4-59C1-6A5D-160A79F819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3960" y="6366005"/>
            <a:ext cx="1158566" cy="435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968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 descr="A map of the world&#10;&#10;Description automatically generated">
            <a:extLst>
              <a:ext uri="{FF2B5EF4-FFF2-40B4-BE49-F238E27FC236}">
                <a16:creationId xmlns:a16="http://schemas.microsoft.com/office/drawing/2014/main" id="{06D4C9AE-2ACB-5201-9DE6-2E18DC6233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3000"/>
          </a:blip>
          <a:srcRect r="11048"/>
          <a:stretch/>
        </p:blipFill>
        <p:spPr>
          <a:xfrm>
            <a:off x="1" y="12700"/>
            <a:ext cx="12205648" cy="6858000"/>
          </a:xfrm>
          <a:prstGeom prst="rect">
            <a:avLst/>
          </a:prstGeom>
        </p:spPr>
      </p:pic>
      <p:pic>
        <p:nvPicPr>
          <p:cNvPr id="3" name="Picture 2" descr="A blurry blue and red background&#10;&#10;Description automatically generated">
            <a:extLst>
              <a:ext uri="{FF2B5EF4-FFF2-40B4-BE49-F238E27FC236}">
                <a16:creationId xmlns:a16="http://schemas.microsoft.com/office/drawing/2014/main" id="{0B0BEF68-40E1-8FFA-7133-82FEB1168E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86985"/>
          <a:stretch/>
        </p:blipFill>
        <p:spPr>
          <a:xfrm rot="10800000">
            <a:off x="-1" y="-1"/>
            <a:ext cx="445803" cy="342537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96A4598-508D-1845-9CE0-7217C89D77A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3600" y="2286000"/>
            <a:ext cx="3842044" cy="716432"/>
          </a:xfrm>
          <a:prstGeom prst="rect">
            <a:avLst/>
          </a:prstGeom>
        </p:spPr>
      </p:pic>
      <p:sp>
        <p:nvSpPr>
          <p:cNvPr id="11" name="Title 30">
            <a:extLst>
              <a:ext uri="{FF2B5EF4-FFF2-40B4-BE49-F238E27FC236}">
                <a16:creationId xmlns:a16="http://schemas.microsoft.com/office/drawing/2014/main" id="{DD452E29-CC7D-4F4B-817D-6AA5D4670F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800" y="3776844"/>
            <a:ext cx="7061200" cy="995915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999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960E5168-62B2-AA47-8CAD-916D86CE80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14400" y="5725632"/>
            <a:ext cx="4197086" cy="480131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algn="l">
              <a:buNone/>
              <a:defRPr sz="1400" b="1">
                <a:solidFill>
                  <a:schemeClr val="tx1"/>
                </a:solidFill>
                <a:latin typeface="+mj-lt"/>
              </a:defRPr>
            </a:lvl1pPr>
            <a:lvl2pPr marL="457098" indent="0" algn="ctr">
              <a:buNone/>
              <a:defRPr sz="2000"/>
            </a:lvl2pPr>
            <a:lvl3pPr marL="914195" indent="0" algn="ctr">
              <a:buNone/>
              <a:defRPr sz="1800"/>
            </a:lvl3pPr>
            <a:lvl4pPr marL="1371292" indent="0" algn="ctr">
              <a:buNone/>
              <a:defRPr sz="1600"/>
            </a:lvl4pPr>
            <a:lvl5pPr marL="1828388" indent="0" algn="ctr">
              <a:buNone/>
              <a:defRPr sz="1600"/>
            </a:lvl5pPr>
            <a:lvl6pPr marL="2285486" indent="0" algn="ctr">
              <a:buNone/>
              <a:defRPr sz="1600"/>
            </a:lvl6pPr>
            <a:lvl7pPr marL="2742583" indent="0" algn="ctr">
              <a:buNone/>
              <a:defRPr sz="1600"/>
            </a:lvl7pPr>
            <a:lvl8pPr marL="3199680" indent="0" algn="ctr">
              <a:buNone/>
              <a:defRPr sz="1600"/>
            </a:lvl8pPr>
            <a:lvl9pPr marL="365677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7EB2A96-0372-F346-A840-596B0736A970}"/>
              </a:ext>
            </a:extLst>
          </p:cNvPr>
          <p:cNvCxnSpPr>
            <a:cxnSpLocks/>
          </p:cNvCxnSpPr>
          <p:nvPr userDrawn="1"/>
        </p:nvCxnSpPr>
        <p:spPr>
          <a:xfrm>
            <a:off x="0" y="3429000"/>
            <a:ext cx="12192000" cy="0"/>
          </a:xfrm>
          <a:prstGeom prst="line">
            <a:avLst/>
          </a:prstGeom>
          <a:ln w="63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28269C4-A378-2248-9BF2-B980E61A0B2D}"/>
              </a:ext>
            </a:extLst>
          </p:cNvPr>
          <p:cNvCxnSpPr>
            <a:cxnSpLocks/>
          </p:cNvCxnSpPr>
          <p:nvPr userDrawn="1"/>
        </p:nvCxnSpPr>
        <p:spPr>
          <a:xfrm flipV="1">
            <a:off x="430836" y="-34725"/>
            <a:ext cx="0" cy="3460096"/>
          </a:xfrm>
          <a:prstGeom prst="line">
            <a:avLst/>
          </a:prstGeom>
          <a:ln w="63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F6F6420-F9C4-E94C-9CFD-D64C4BE4C525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62451" y="3429000"/>
            <a:ext cx="0" cy="3460096"/>
          </a:xfrm>
          <a:prstGeom prst="line">
            <a:avLst/>
          </a:prstGeom>
          <a:ln w="63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phic 12">
            <a:extLst>
              <a:ext uri="{FF2B5EF4-FFF2-40B4-BE49-F238E27FC236}">
                <a16:creationId xmlns:a16="http://schemas.microsoft.com/office/drawing/2014/main" id="{8DB35478-2095-1DA5-1B5B-BA086F6F03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10000"/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4549" r="13730" b="54665"/>
          <a:stretch/>
        </p:blipFill>
        <p:spPr>
          <a:xfrm rot="16200000">
            <a:off x="9655370" y="878551"/>
            <a:ext cx="3401537" cy="1699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430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rry blue and red background&#10;&#10;Description automatically generated">
            <a:extLst>
              <a:ext uri="{FF2B5EF4-FFF2-40B4-BE49-F238E27FC236}">
                <a16:creationId xmlns:a16="http://schemas.microsoft.com/office/drawing/2014/main" id="{501C2FEE-96E3-D16D-C85A-D72FF9D524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1920"/>
            <a:ext cx="6858000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D9813634-4FF0-8242-A324-23A11B96AC90}"/>
              </a:ext>
            </a:extLst>
          </p:cNvPr>
          <p:cNvSpPr/>
          <p:nvPr userDrawn="1"/>
        </p:nvSpPr>
        <p:spPr>
          <a:xfrm>
            <a:off x="0" y="19179"/>
            <a:ext cx="430833" cy="3421741"/>
          </a:xfrm>
          <a:prstGeom prst="rect">
            <a:avLst/>
          </a:prstGeom>
          <a:solidFill>
            <a:schemeClr val="bg1"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598" b="0" i="0" u="none" strike="noStrike" kern="1200" cap="none" spc="0" normalizeH="0" baseline="0" noProof="0" dirty="0">
              <a:ln>
                <a:noFill/>
              </a:ln>
              <a:solidFill>
                <a:srgbClr val="283349"/>
              </a:solidFill>
              <a:effectLst/>
              <a:uLnTx/>
              <a:uFillTx/>
              <a:latin typeface="Raleway" panose="020B0503030101060003" pitchFamily="34" charset="0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96A4598-508D-1845-9CE0-7217C89D77A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3600" y="2286000"/>
            <a:ext cx="3842044" cy="716432"/>
          </a:xfrm>
          <a:prstGeom prst="rect">
            <a:avLst/>
          </a:prstGeom>
        </p:spPr>
      </p:pic>
      <p:sp>
        <p:nvSpPr>
          <p:cNvPr id="11" name="Title 30">
            <a:extLst>
              <a:ext uri="{FF2B5EF4-FFF2-40B4-BE49-F238E27FC236}">
                <a16:creationId xmlns:a16="http://schemas.microsoft.com/office/drawing/2014/main" id="{DD452E29-CC7D-4F4B-817D-6AA5D4670F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800" y="3776844"/>
            <a:ext cx="7061200" cy="995915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999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960E5168-62B2-AA47-8CAD-916D86CE80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14400" y="5725632"/>
            <a:ext cx="4197086" cy="480131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Raleway" panose="020B0503030101060003" pitchFamily="34" charset="0"/>
              </a:defRPr>
            </a:lvl1pPr>
            <a:lvl2pPr marL="457098" indent="0" algn="ctr">
              <a:buNone/>
              <a:defRPr sz="2000"/>
            </a:lvl2pPr>
            <a:lvl3pPr marL="914195" indent="0" algn="ctr">
              <a:buNone/>
              <a:defRPr sz="1800"/>
            </a:lvl3pPr>
            <a:lvl4pPr marL="1371292" indent="0" algn="ctr">
              <a:buNone/>
              <a:defRPr sz="1600"/>
            </a:lvl4pPr>
            <a:lvl5pPr marL="1828388" indent="0" algn="ctr">
              <a:buNone/>
              <a:defRPr sz="1600"/>
            </a:lvl5pPr>
            <a:lvl6pPr marL="2285486" indent="0" algn="ctr">
              <a:buNone/>
              <a:defRPr sz="1600"/>
            </a:lvl6pPr>
            <a:lvl7pPr marL="2742583" indent="0" algn="ctr">
              <a:buNone/>
              <a:defRPr sz="1600"/>
            </a:lvl7pPr>
            <a:lvl8pPr marL="3199680" indent="0" algn="ctr">
              <a:buNone/>
              <a:defRPr sz="1600"/>
            </a:lvl8pPr>
            <a:lvl9pPr marL="365677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7EB2A96-0372-F346-A840-596B0736A970}"/>
              </a:ext>
            </a:extLst>
          </p:cNvPr>
          <p:cNvCxnSpPr>
            <a:cxnSpLocks/>
          </p:cNvCxnSpPr>
          <p:nvPr userDrawn="1"/>
        </p:nvCxnSpPr>
        <p:spPr>
          <a:xfrm>
            <a:off x="0" y="3429000"/>
            <a:ext cx="12192000" cy="0"/>
          </a:xfrm>
          <a:prstGeom prst="line">
            <a:avLst/>
          </a:prstGeom>
          <a:ln w="63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28269C4-A378-2248-9BF2-B980E61A0B2D}"/>
              </a:ext>
            </a:extLst>
          </p:cNvPr>
          <p:cNvCxnSpPr>
            <a:cxnSpLocks/>
          </p:cNvCxnSpPr>
          <p:nvPr userDrawn="1"/>
        </p:nvCxnSpPr>
        <p:spPr>
          <a:xfrm flipV="1">
            <a:off x="430836" y="-34725"/>
            <a:ext cx="0" cy="3460096"/>
          </a:xfrm>
          <a:prstGeom prst="line">
            <a:avLst/>
          </a:prstGeom>
          <a:ln w="63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F6F6420-F9C4-E94C-9CFD-D64C4BE4C525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62451" y="3429000"/>
            <a:ext cx="0" cy="3460096"/>
          </a:xfrm>
          <a:prstGeom prst="line">
            <a:avLst/>
          </a:prstGeom>
          <a:ln w="63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phic 12">
            <a:extLst>
              <a:ext uri="{FF2B5EF4-FFF2-40B4-BE49-F238E27FC236}">
                <a16:creationId xmlns:a16="http://schemas.microsoft.com/office/drawing/2014/main" id="{8DB35478-2095-1DA5-1B5B-BA086F6F03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10000"/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4549" r="13730" b="54665"/>
          <a:stretch/>
        </p:blipFill>
        <p:spPr>
          <a:xfrm rot="16200000">
            <a:off x="9655370" y="878551"/>
            <a:ext cx="3401537" cy="1699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7820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pact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FB4EA1E1-2A21-4263-E284-D70A15CE5C93}"/>
              </a:ext>
            </a:extLst>
          </p:cNvPr>
          <p:cNvSpPr/>
          <p:nvPr userDrawn="1"/>
        </p:nvSpPr>
        <p:spPr>
          <a:xfrm rot="16200000">
            <a:off x="-398533" y="371180"/>
            <a:ext cx="6869917" cy="6103714"/>
          </a:xfrm>
          <a:prstGeom prst="rect">
            <a:avLst/>
          </a:prstGeom>
          <a:gradFill flip="none" rotWithShape="1">
            <a:gsLst>
              <a:gs pos="100000">
                <a:schemeClr val="accent6">
                  <a:alpha val="55000"/>
                </a:schemeClr>
              </a:gs>
              <a:gs pos="0">
                <a:schemeClr val="bg1">
                  <a:alpha val="55000"/>
                </a:schemeClr>
              </a:gs>
            </a:gsLst>
            <a:lin ang="5400000" scaled="0"/>
            <a:tileRect/>
          </a:gradFill>
          <a:ln w="730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" rIns="182880" bIns="182880" rtlCol="0" anchor="b"/>
          <a:lstStyle/>
          <a:p>
            <a:pPr algn="ctr">
              <a:lnSpc>
                <a:spcPct val="85000"/>
              </a:lnSpc>
              <a:spcBef>
                <a:spcPts val="1200"/>
              </a:spcBef>
            </a:pPr>
            <a:endParaRPr lang="en-US" sz="2000" b="1" dirty="0">
              <a:solidFill>
                <a:schemeClr val="accent2"/>
              </a:solidFill>
              <a:latin typeface="Arial" panose="020B0604020202020204"/>
              <a:cs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B90C121-ED60-EF02-9775-63445E044ED6}"/>
              </a:ext>
            </a:extLst>
          </p:cNvPr>
          <p:cNvSpPr/>
          <p:nvPr userDrawn="1"/>
        </p:nvSpPr>
        <p:spPr>
          <a:xfrm>
            <a:off x="-7717" y="0"/>
            <a:ext cx="6103715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 descr="A close up of a person's face&#10;&#10;Description automatically generated">
            <a:extLst>
              <a:ext uri="{FF2B5EF4-FFF2-40B4-BE49-F238E27FC236}">
                <a16:creationId xmlns:a16="http://schemas.microsoft.com/office/drawing/2014/main" id="{0128C3CB-C060-582F-C1F6-5CE379F7ED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2729" r="24540"/>
          <a:stretch/>
        </p:blipFill>
        <p:spPr>
          <a:xfrm>
            <a:off x="7886" y="1046553"/>
            <a:ext cx="6088112" cy="5797933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278B4674-A859-6341-B984-ABFEB7EE4819}"/>
              </a:ext>
            </a:extLst>
          </p:cNvPr>
          <p:cNvSpPr/>
          <p:nvPr/>
        </p:nvSpPr>
        <p:spPr>
          <a:xfrm>
            <a:off x="0" y="1033040"/>
            <a:ext cx="430833" cy="5824959"/>
          </a:xfrm>
          <a:prstGeom prst="rect">
            <a:avLst/>
          </a:prstGeom>
          <a:solidFill>
            <a:schemeClr val="accent2"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8334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C928581-AE8A-D244-89C8-9C9325565651}"/>
              </a:ext>
            </a:extLst>
          </p:cNvPr>
          <p:cNvCxnSpPr>
            <a:cxnSpLocks/>
          </p:cNvCxnSpPr>
          <p:nvPr/>
        </p:nvCxnSpPr>
        <p:spPr>
          <a:xfrm>
            <a:off x="392623" y="1342197"/>
            <a:ext cx="0" cy="0"/>
          </a:xfrm>
          <a:prstGeom prst="line">
            <a:avLst/>
          </a:prstGeom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E77E878-5D84-F043-90FE-E2EB38F39985}"/>
              </a:ext>
            </a:extLst>
          </p:cNvPr>
          <p:cNvCxnSpPr>
            <a:cxnSpLocks/>
          </p:cNvCxnSpPr>
          <p:nvPr/>
        </p:nvCxnSpPr>
        <p:spPr>
          <a:xfrm flipV="1">
            <a:off x="430836" y="1033041"/>
            <a:ext cx="0" cy="5824959"/>
          </a:xfrm>
          <a:prstGeom prst="line">
            <a:avLst/>
          </a:prstGeom>
          <a:ln w="63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820A3DF-7666-EF4D-9118-7FEDF898CEFE}"/>
              </a:ext>
            </a:extLst>
          </p:cNvPr>
          <p:cNvCxnSpPr>
            <a:cxnSpLocks/>
          </p:cNvCxnSpPr>
          <p:nvPr/>
        </p:nvCxnSpPr>
        <p:spPr>
          <a:xfrm>
            <a:off x="6088283" y="1033041"/>
            <a:ext cx="6096000" cy="0"/>
          </a:xfrm>
          <a:prstGeom prst="line">
            <a:avLst/>
          </a:prstGeom>
          <a:ln w="6350" cap="rnd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DB14F95-843B-A749-B9E4-F630912591AE}"/>
              </a:ext>
            </a:extLst>
          </p:cNvPr>
          <p:cNvCxnSpPr>
            <a:cxnSpLocks/>
          </p:cNvCxnSpPr>
          <p:nvPr/>
        </p:nvCxnSpPr>
        <p:spPr>
          <a:xfrm flipV="1">
            <a:off x="11762451" y="0"/>
            <a:ext cx="0" cy="1033041"/>
          </a:xfrm>
          <a:prstGeom prst="line">
            <a:avLst/>
          </a:prstGeom>
          <a:ln w="6350" cap="rnd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itle 10">
            <a:extLst>
              <a:ext uri="{FF2B5EF4-FFF2-40B4-BE49-F238E27FC236}">
                <a16:creationId xmlns:a16="http://schemas.microsoft.com/office/drawing/2014/main" id="{9AB7B248-4737-F444-97FC-DA45136B53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77246" y="1033039"/>
            <a:ext cx="5083917" cy="4791897"/>
          </a:xfrm>
        </p:spPr>
        <p:txBody>
          <a:bodyPr anchor="ctr">
            <a:no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B429D7E-0BEE-8B83-7A7C-661D5F65FAD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704" t="18909" r="33902" b="773"/>
          <a:stretch/>
        </p:blipFill>
        <p:spPr>
          <a:xfrm flipV="1">
            <a:off x="467018" y="1073983"/>
            <a:ext cx="1311324" cy="3889730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73869589-D9F2-5903-F21F-746785E8F84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33960" y="6378705"/>
            <a:ext cx="1158566" cy="435622"/>
          </a:xfrm>
          <a:prstGeom prst="rect">
            <a:avLst/>
          </a:prstGeom>
        </p:spPr>
      </p:pic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703F703B-82AF-FE56-5244-32D16DA0E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56363" y="6424148"/>
            <a:ext cx="609600" cy="36512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FEFF75-79D2-EE46-877B-299D1510E68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83786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83786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Picture 6" descr="A blurry blue and red background&#10;&#10;Description automatically generated">
            <a:extLst>
              <a:ext uri="{FF2B5EF4-FFF2-40B4-BE49-F238E27FC236}">
                <a16:creationId xmlns:a16="http://schemas.microsoft.com/office/drawing/2014/main" id="{071B84B3-01CC-BB3C-04EC-13F45DF687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r="92021"/>
          <a:stretch/>
        </p:blipFill>
        <p:spPr>
          <a:xfrm>
            <a:off x="-12699" y="1033038"/>
            <a:ext cx="465730" cy="5836881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67709E1-23D8-EF49-AB49-B3C68FA570D5}"/>
              </a:ext>
            </a:extLst>
          </p:cNvPr>
          <p:cNvCxnSpPr>
            <a:cxnSpLocks/>
          </p:cNvCxnSpPr>
          <p:nvPr/>
        </p:nvCxnSpPr>
        <p:spPr>
          <a:xfrm>
            <a:off x="-7717" y="1033040"/>
            <a:ext cx="6096000" cy="0"/>
          </a:xfrm>
          <a:prstGeom prst="line">
            <a:avLst/>
          </a:prstGeom>
          <a:ln w="63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7638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ext ge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12104AD-06D1-D3CE-FB10-81EA599960C4}"/>
              </a:ext>
            </a:extLst>
          </p:cNvPr>
          <p:cNvSpPr/>
          <p:nvPr userDrawn="1"/>
        </p:nvSpPr>
        <p:spPr>
          <a:xfrm rot="16200000">
            <a:off x="-398533" y="371180"/>
            <a:ext cx="6869917" cy="6103714"/>
          </a:xfrm>
          <a:prstGeom prst="rect">
            <a:avLst/>
          </a:prstGeom>
          <a:gradFill flip="none" rotWithShape="1">
            <a:gsLst>
              <a:gs pos="100000">
                <a:schemeClr val="accent6">
                  <a:alpha val="55000"/>
                </a:schemeClr>
              </a:gs>
              <a:gs pos="0">
                <a:schemeClr val="bg1">
                  <a:alpha val="55000"/>
                </a:schemeClr>
              </a:gs>
            </a:gsLst>
            <a:lin ang="5400000" scaled="0"/>
            <a:tileRect/>
          </a:gradFill>
          <a:ln w="730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" rIns="182880" bIns="182880" rtlCol="0" anchor="b"/>
          <a:lstStyle/>
          <a:p>
            <a:pPr algn="ctr">
              <a:lnSpc>
                <a:spcPct val="85000"/>
              </a:lnSpc>
              <a:spcBef>
                <a:spcPts val="1200"/>
              </a:spcBef>
            </a:pPr>
            <a:endParaRPr lang="en-US" sz="2000" b="1" dirty="0">
              <a:solidFill>
                <a:schemeClr val="accent2"/>
              </a:solidFill>
              <a:latin typeface="Arial" panose="020B0604020202020204"/>
              <a:cs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B90C121-ED60-EF02-9775-63445E044ED6}"/>
              </a:ext>
            </a:extLst>
          </p:cNvPr>
          <p:cNvSpPr/>
          <p:nvPr userDrawn="1"/>
        </p:nvSpPr>
        <p:spPr>
          <a:xfrm>
            <a:off x="-7717" y="0"/>
            <a:ext cx="6103715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 descr="A person holding a tablet&#10;&#10;Description automatically generated">
            <a:extLst>
              <a:ext uri="{FF2B5EF4-FFF2-40B4-BE49-F238E27FC236}">
                <a16:creationId xmlns:a16="http://schemas.microsoft.com/office/drawing/2014/main" id="{C01D8F3A-1332-1461-8217-7B9374C68B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84" r="47504"/>
          <a:stretch/>
        </p:blipFill>
        <p:spPr>
          <a:xfrm>
            <a:off x="7717" y="1021121"/>
            <a:ext cx="6080566" cy="5824961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278B4674-A859-6341-B984-ABFEB7EE4819}"/>
              </a:ext>
            </a:extLst>
          </p:cNvPr>
          <p:cNvSpPr/>
          <p:nvPr/>
        </p:nvSpPr>
        <p:spPr>
          <a:xfrm>
            <a:off x="0" y="1033040"/>
            <a:ext cx="430833" cy="5824959"/>
          </a:xfrm>
          <a:prstGeom prst="rect">
            <a:avLst/>
          </a:prstGeom>
          <a:solidFill>
            <a:schemeClr val="accent2"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8334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C928581-AE8A-D244-89C8-9C9325565651}"/>
              </a:ext>
            </a:extLst>
          </p:cNvPr>
          <p:cNvCxnSpPr>
            <a:cxnSpLocks/>
          </p:cNvCxnSpPr>
          <p:nvPr/>
        </p:nvCxnSpPr>
        <p:spPr>
          <a:xfrm>
            <a:off x="392623" y="1342197"/>
            <a:ext cx="0" cy="0"/>
          </a:xfrm>
          <a:prstGeom prst="line">
            <a:avLst/>
          </a:prstGeom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E77E878-5D84-F043-90FE-E2EB38F39985}"/>
              </a:ext>
            </a:extLst>
          </p:cNvPr>
          <p:cNvCxnSpPr>
            <a:cxnSpLocks/>
          </p:cNvCxnSpPr>
          <p:nvPr/>
        </p:nvCxnSpPr>
        <p:spPr>
          <a:xfrm flipV="1">
            <a:off x="430836" y="1033041"/>
            <a:ext cx="0" cy="5824959"/>
          </a:xfrm>
          <a:prstGeom prst="line">
            <a:avLst/>
          </a:prstGeom>
          <a:ln w="63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820A3DF-7666-EF4D-9118-7FEDF898CEFE}"/>
              </a:ext>
            </a:extLst>
          </p:cNvPr>
          <p:cNvCxnSpPr>
            <a:cxnSpLocks/>
          </p:cNvCxnSpPr>
          <p:nvPr/>
        </p:nvCxnSpPr>
        <p:spPr>
          <a:xfrm>
            <a:off x="6088283" y="1033041"/>
            <a:ext cx="6096000" cy="0"/>
          </a:xfrm>
          <a:prstGeom prst="line">
            <a:avLst/>
          </a:prstGeom>
          <a:ln w="6350" cap="rnd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DB14F95-843B-A749-B9E4-F630912591AE}"/>
              </a:ext>
            </a:extLst>
          </p:cNvPr>
          <p:cNvCxnSpPr>
            <a:cxnSpLocks/>
          </p:cNvCxnSpPr>
          <p:nvPr/>
        </p:nvCxnSpPr>
        <p:spPr>
          <a:xfrm flipV="1">
            <a:off x="11762451" y="0"/>
            <a:ext cx="0" cy="1033041"/>
          </a:xfrm>
          <a:prstGeom prst="line">
            <a:avLst/>
          </a:prstGeom>
          <a:ln w="6350" cap="rnd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itle 10">
            <a:extLst>
              <a:ext uri="{FF2B5EF4-FFF2-40B4-BE49-F238E27FC236}">
                <a16:creationId xmlns:a16="http://schemas.microsoft.com/office/drawing/2014/main" id="{9AB7B248-4737-F444-97FC-DA45136B53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77246" y="1033039"/>
            <a:ext cx="5083917" cy="4791897"/>
          </a:xfrm>
        </p:spPr>
        <p:txBody>
          <a:bodyPr anchor="ctr">
            <a:no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B429D7E-0BEE-8B83-7A7C-661D5F65FAD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704" t="18909" r="33902" b="773"/>
          <a:stretch/>
        </p:blipFill>
        <p:spPr>
          <a:xfrm flipV="1">
            <a:off x="467018" y="1073983"/>
            <a:ext cx="1311324" cy="3889730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73869589-D9F2-5903-F21F-746785E8F84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33960" y="6378705"/>
            <a:ext cx="1158566" cy="435622"/>
          </a:xfrm>
          <a:prstGeom prst="rect">
            <a:avLst/>
          </a:prstGeom>
        </p:spPr>
      </p:pic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703F703B-82AF-FE56-5244-32D16DA0E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56363" y="6424148"/>
            <a:ext cx="609600" cy="36512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FEFF75-79D2-EE46-877B-299D1510E68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83786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83786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Picture 6" descr="A blurry blue and red background&#10;&#10;Description automatically generated">
            <a:extLst>
              <a:ext uri="{FF2B5EF4-FFF2-40B4-BE49-F238E27FC236}">
                <a16:creationId xmlns:a16="http://schemas.microsoft.com/office/drawing/2014/main" id="{071B84B3-01CC-BB3C-04EC-13F45DF687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r="92021"/>
          <a:stretch/>
        </p:blipFill>
        <p:spPr>
          <a:xfrm>
            <a:off x="-12699" y="1033038"/>
            <a:ext cx="465730" cy="5836881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67709E1-23D8-EF49-AB49-B3C68FA570D5}"/>
              </a:ext>
            </a:extLst>
          </p:cNvPr>
          <p:cNvCxnSpPr>
            <a:cxnSpLocks/>
          </p:cNvCxnSpPr>
          <p:nvPr/>
        </p:nvCxnSpPr>
        <p:spPr>
          <a:xfrm>
            <a:off x="-7717" y="1033040"/>
            <a:ext cx="6096000" cy="0"/>
          </a:xfrm>
          <a:prstGeom prst="line">
            <a:avLst/>
          </a:prstGeom>
          <a:ln w="63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0394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12104AD-06D1-D3CE-FB10-81EA599960C4}"/>
              </a:ext>
            </a:extLst>
          </p:cNvPr>
          <p:cNvSpPr/>
          <p:nvPr userDrawn="1"/>
        </p:nvSpPr>
        <p:spPr>
          <a:xfrm rot="16200000">
            <a:off x="-398533" y="371180"/>
            <a:ext cx="6869917" cy="6103714"/>
          </a:xfrm>
          <a:prstGeom prst="rect">
            <a:avLst/>
          </a:prstGeom>
          <a:gradFill flip="none" rotWithShape="1">
            <a:gsLst>
              <a:gs pos="100000">
                <a:schemeClr val="accent6">
                  <a:alpha val="55000"/>
                </a:schemeClr>
              </a:gs>
              <a:gs pos="0">
                <a:schemeClr val="bg1">
                  <a:alpha val="55000"/>
                </a:schemeClr>
              </a:gs>
            </a:gsLst>
            <a:lin ang="5400000" scaled="0"/>
            <a:tileRect/>
          </a:gradFill>
          <a:ln w="730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" rIns="182880" bIns="182880" rtlCol="0" anchor="b"/>
          <a:lstStyle/>
          <a:p>
            <a:pPr algn="ctr">
              <a:lnSpc>
                <a:spcPct val="85000"/>
              </a:lnSpc>
              <a:spcBef>
                <a:spcPts val="1200"/>
              </a:spcBef>
            </a:pPr>
            <a:endParaRPr lang="en-US" sz="2000" b="1" dirty="0">
              <a:solidFill>
                <a:schemeClr val="accent2"/>
              </a:solidFill>
              <a:latin typeface="Arial" panose="020B0604020202020204"/>
              <a:cs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B90C121-ED60-EF02-9775-63445E044ED6}"/>
              </a:ext>
            </a:extLst>
          </p:cNvPr>
          <p:cNvSpPr/>
          <p:nvPr userDrawn="1"/>
        </p:nvSpPr>
        <p:spPr>
          <a:xfrm>
            <a:off x="-7717" y="0"/>
            <a:ext cx="6103715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78B4674-A859-6341-B984-ABFEB7EE4819}"/>
              </a:ext>
            </a:extLst>
          </p:cNvPr>
          <p:cNvSpPr/>
          <p:nvPr/>
        </p:nvSpPr>
        <p:spPr>
          <a:xfrm>
            <a:off x="0" y="1033040"/>
            <a:ext cx="430833" cy="5824959"/>
          </a:xfrm>
          <a:prstGeom prst="rect">
            <a:avLst/>
          </a:prstGeom>
          <a:solidFill>
            <a:schemeClr val="accent2"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8334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C928581-AE8A-D244-89C8-9C9325565651}"/>
              </a:ext>
            </a:extLst>
          </p:cNvPr>
          <p:cNvCxnSpPr>
            <a:cxnSpLocks/>
          </p:cNvCxnSpPr>
          <p:nvPr/>
        </p:nvCxnSpPr>
        <p:spPr>
          <a:xfrm>
            <a:off x="392623" y="1342197"/>
            <a:ext cx="0" cy="0"/>
          </a:xfrm>
          <a:prstGeom prst="line">
            <a:avLst/>
          </a:prstGeom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E77E878-5D84-F043-90FE-E2EB38F39985}"/>
              </a:ext>
            </a:extLst>
          </p:cNvPr>
          <p:cNvCxnSpPr>
            <a:cxnSpLocks/>
          </p:cNvCxnSpPr>
          <p:nvPr/>
        </p:nvCxnSpPr>
        <p:spPr>
          <a:xfrm flipV="1">
            <a:off x="430836" y="1033041"/>
            <a:ext cx="0" cy="5824959"/>
          </a:xfrm>
          <a:prstGeom prst="line">
            <a:avLst/>
          </a:prstGeom>
          <a:ln w="63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820A3DF-7666-EF4D-9118-7FEDF898CEFE}"/>
              </a:ext>
            </a:extLst>
          </p:cNvPr>
          <p:cNvCxnSpPr>
            <a:cxnSpLocks/>
          </p:cNvCxnSpPr>
          <p:nvPr/>
        </p:nvCxnSpPr>
        <p:spPr>
          <a:xfrm>
            <a:off x="6088283" y="1033041"/>
            <a:ext cx="6096000" cy="0"/>
          </a:xfrm>
          <a:prstGeom prst="line">
            <a:avLst/>
          </a:prstGeom>
          <a:ln w="6350" cap="rnd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DB14F95-843B-A749-B9E4-F630912591AE}"/>
              </a:ext>
            </a:extLst>
          </p:cNvPr>
          <p:cNvCxnSpPr>
            <a:cxnSpLocks/>
          </p:cNvCxnSpPr>
          <p:nvPr/>
        </p:nvCxnSpPr>
        <p:spPr>
          <a:xfrm flipV="1">
            <a:off x="11762451" y="0"/>
            <a:ext cx="0" cy="1033041"/>
          </a:xfrm>
          <a:prstGeom prst="line">
            <a:avLst/>
          </a:prstGeom>
          <a:ln w="6350" cap="rnd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itle 10">
            <a:extLst>
              <a:ext uri="{FF2B5EF4-FFF2-40B4-BE49-F238E27FC236}">
                <a16:creationId xmlns:a16="http://schemas.microsoft.com/office/drawing/2014/main" id="{9AB7B248-4737-F444-97FC-DA45136B53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77246" y="1033039"/>
            <a:ext cx="5083917" cy="4791897"/>
          </a:xfrm>
        </p:spPr>
        <p:txBody>
          <a:bodyPr anchor="ctr">
            <a:no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B429D7E-0BEE-8B83-7A7C-661D5F65FAD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704" t="18909" r="33902" b="773"/>
          <a:stretch/>
        </p:blipFill>
        <p:spPr>
          <a:xfrm flipV="1">
            <a:off x="467018" y="1073983"/>
            <a:ext cx="1311324" cy="3889730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73869589-D9F2-5903-F21F-746785E8F84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33960" y="6378705"/>
            <a:ext cx="1158566" cy="435622"/>
          </a:xfrm>
          <a:prstGeom prst="rect">
            <a:avLst/>
          </a:prstGeom>
        </p:spPr>
      </p:pic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703F703B-82AF-FE56-5244-32D16DA0E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56363" y="6424148"/>
            <a:ext cx="609600" cy="36512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FEFF75-79D2-EE46-877B-299D1510E68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83786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83786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Picture 6" descr="A blurry blue and red background&#10;&#10;Description automatically generated">
            <a:extLst>
              <a:ext uri="{FF2B5EF4-FFF2-40B4-BE49-F238E27FC236}">
                <a16:creationId xmlns:a16="http://schemas.microsoft.com/office/drawing/2014/main" id="{071B84B3-01CC-BB3C-04EC-13F45DF687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r="92021"/>
          <a:stretch/>
        </p:blipFill>
        <p:spPr>
          <a:xfrm>
            <a:off x="-12699" y="1033038"/>
            <a:ext cx="465730" cy="5836881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67709E1-23D8-EF49-AB49-B3C68FA570D5}"/>
              </a:ext>
            </a:extLst>
          </p:cNvPr>
          <p:cNvCxnSpPr>
            <a:cxnSpLocks/>
          </p:cNvCxnSpPr>
          <p:nvPr/>
        </p:nvCxnSpPr>
        <p:spPr>
          <a:xfrm>
            <a:off x="-7717" y="1033040"/>
            <a:ext cx="6096000" cy="0"/>
          </a:xfrm>
          <a:prstGeom prst="line">
            <a:avLst/>
          </a:prstGeom>
          <a:ln w="63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58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F9D6F72-AE66-8EDB-F2C0-6A6FB6EB72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4114797"/>
            <a:ext cx="12191989" cy="2743203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91E9492-B427-AE4E-9DD4-E488E99B5467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62451" y="4114800"/>
            <a:ext cx="0" cy="2774296"/>
          </a:xfrm>
          <a:prstGeom prst="line">
            <a:avLst/>
          </a:prstGeom>
          <a:ln w="63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phic 5">
            <a:extLst>
              <a:ext uri="{FF2B5EF4-FFF2-40B4-BE49-F238E27FC236}">
                <a16:creationId xmlns:a16="http://schemas.microsoft.com/office/drawing/2014/main" id="{267FF259-5717-314D-B613-B551674F2C2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03375" y="1533295"/>
            <a:ext cx="4585252" cy="172405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5DC119F-33DD-8242-8943-A9B5ED8E6357}"/>
              </a:ext>
            </a:extLst>
          </p:cNvPr>
          <p:cNvCxnSpPr>
            <a:cxnSpLocks/>
          </p:cNvCxnSpPr>
          <p:nvPr userDrawn="1"/>
        </p:nvCxnSpPr>
        <p:spPr>
          <a:xfrm>
            <a:off x="11771384" y="2"/>
            <a:ext cx="0" cy="4114799"/>
          </a:xfrm>
          <a:prstGeom prst="line">
            <a:avLst/>
          </a:prstGeom>
          <a:ln w="6350" cap="rnd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EBFA9FD1-17C3-934E-8243-812118B42B55}"/>
              </a:ext>
            </a:extLst>
          </p:cNvPr>
          <p:cNvSpPr/>
          <p:nvPr userDrawn="1"/>
        </p:nvSpPr>
        <p:spPr>
          <a:xfrm>
            <a:off x="1" y="1"/>
            <a:ext cx="430836" cy="6858000"/>
          </a:xfrm>
          <a:prstGeom prst="rect">
            <a:avLst/>
          </a:prstGeom>
          <a:solidFill>
            <a:schemeClr val="bg1">
              <a:lumMod val="20000"/>
              <a:lumOff val="8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1" b="0" i="0" u="none" strike="noStrike" kern="1200" cap="none" spc="0" normalizeH="0" baseline="0" noProof="0" dirty="0">
              <a:ln>
                <a:noFill/>
              </a:ln>
              <a:solidFill>
                <a:srgbClr val="28334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30F6979-1BC7-9644-A58D-4F4FFCA632CA}"/>
              </a:ext>
            </a:extLst>
          </p:cNvPr>
          <p:cNvCxnSpPr>
            <a:cxnSpLocks/>
          </p:cNvCxnSpPr>
          <p:nvPr userDrawn="1"/>
        </p:nvCxnSpPr>
        <p:spPr>
          <a:xfrm>
            <a:off x="430836" y="0"/>
            <a:ext cx="0" cy="6858000"/>
          </a:xfrm>
          <a:prstGeom prst="line">
            <a:avLst/>
          </a:prstGeom>
          <a:ln w="6350" cap="rnd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876DF16-72FF-6546-B33E-6FAAEC203B89}"/>
              </a:ext>
            </a:extLst>
          </p:cNvPr>
          <p:cNvCxnSpPr>
            <a:cxnSpLocks/>
          </p:cNvCxnSpPr>
          <p:nvPr userDrawn="1"/>
        </p:nvCxnSpPr>
        <p:spPr>
          <a:xfrm flipV="1">
            <a:off x="430836" y="4114801"/>
            <a:ext cx="0" cy="2743199"/>
          </a:xfrm>
          <a:prstGeom prst="line">
            <a:avLst/>
          </a:prstGeom>
          <a:ln w="635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phic 9">
            <a:extLst>
              <a:ext uri="{FF2B5EF4-FFF2-40B4-BE49-F238E27FC236}">
                <a16:creationId xmlns:a16="http://schemas.microsoft.com/office/drawing/2014/main" id="{72F61CFC-39FF-FD98-0517-695E2318AC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5665" r="52109" b="15809"/>
          <a:stretch/>
        </p:blipFill>
        <p:spPr>
          <a:xfrm rot="5400000" flipH="1">
            <a:off x="8331598" y="634984"/>
            <a:ext cx="4083701" cy="2813739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B1D163AD-FA0F-2F45-DB47-B8041428A1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49987" b="53353"/>
          <a:stretch/>
        </p:blipFill>
        <p:spPr>
          <a:xfrm rot="5400000">
            <a:off x="-307084" y="746852"/>
            <a:ext cx="4083707" cy="2590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88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10F9B1-C44B-032E-979D-5D3B8F63B9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C072113-78E7-4FC9-1C2D-26468B65FC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87503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0" y="0"/>
            <a:ext cx="12192000" cy="6883400"/>
            <a:chOff x="0" y="-19050"/>
            <a:chExt cx="9144000" cy="5162550"/>
          </a:xfrm>
        </p:grpSpPr>
        <p:pic>
          <p:nvPicPr>
            <p:cNvPr id="8" name="Google Shape;968;p143"/>
            <p:cNvPicPr preferRelativeResize="0">
              <a:picLocks/>
            </p:cNvPicPr>
            <p:nvPr userDrawn="1"/>
          </p:nvPicPr>
          <p:blipFill rotWithShape="1">
            <a:blip r:embed="rId2">
              <a:alphaModFix/>
            </a:blip>
            <a:srcRect t="8649" b="10015"/>
            <a:stretch/>
          </p:blipFill>
          <p:spPr>
            <a:xfrm>
              <a:off x="0" y="-19050"/>
              <a:ext cx="9144000" cy="5148000"/>
            </a:xfrm>
            <a:prstGeom prst="rect">
              <a:avLst/>
            </a:prstGeom>
            <a:solidFill>
              <a:srgbClr val="DEDEDE"/>
            </a:solidFill>
            <a:ln>
              <a:noFill/>
            </a:ln>
          </p:spPr>
        </p:pic>
        <p:sp>
          <p:nvSpPr>
            <p:cNvPr id="5" name="Rectangle 4"/>
            <p:cNvSpPr/>
            <p:nvPr userDrawn="1"/>
          </p:nvSpPr>
          <p:spPr>
            <a:xfrm>
              <a:off x="0" y="-19050"/>
              <a:ext cx="9144000" cy="5162550"/>
            </a:xfrm>
            <a:prstGeom prst="rect">
              <a:avLst/>
            </a:prstGeom>
            <a:solidFill>
              <a:schemeClr val="accent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0FFB5C56-5F76-A249-A4DF-253F6BAAC5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95442" y="4491849"/>
            <a:ext cx="5601117" cy="384953"/>
          </a:xfrm>
          <a:prstGeom prst="rect">
            <a:avLst/>
          </a:prstGeom>
        </p:spPr>
        <p:txBody>
          <a:bodyPr wrap="square" anchor="ctr">
            <a:normAutofit/>
          </a:bodyPr>
          <a:lstStyle>
            <a:lvl1pPr marL="0" indent="0" algn="ctr">
              <a:buNone/>
              <a:defRPr sz="1333" b="1">
                <a:solidFill>
                  <a:schemeClr val="bg1"/>
                </a:solidFill>
                <a:latin typeface="Gill Sans MT" panose="020B0502020104020203" pitchFamily="34" charset="0"/>
              </a:defRPr>
            </a:lvl1pPr>
            <a:lvl2pPr marL="609570" indent="0" algn="ctr">
              <a:buNone/>
              <a:defRPr sz="2667"/>
            </a:lvl2pPr>
            <a:lvl3pPr marL="1219140" indent="0" algn="ctr">
              <a:buNone/>
              <a:defRPr sz="2400"/>
            </a:lvl3pPr>
            <a:lvl4pPr marL="1828709" indent="0" algn="ctr">
              <a:buNone/>
              <a:defRPr sz="2133"/>
            </a:lvl4pPr>
            <a:lvl5pPr marL="2438278" indent="0" algn="ctr">
              <a:buNone/>
              <a:defRPr sz="2133"/>
            </a:lvl5pPr>
            <a:lvl6pPr marL="3047848" indent="0" algn="ctr">
              <a:buNone/>
              <a:defRPr sz="2133"/>
            </a:lvl6pPr>
            <a:lvl7pPr marL="3657418" indent="0" algn="ctr">
              <a:buNone/>
              <a:defRPr sz="2133"/>
            </a:lvl7pPr>
            <a:lvl8pPr marL="4266987" indent="0" algn="ctr">
              <a:buNone/>
              <a:defRPr sz="2133"/>
            </a:lvl8pPr>
            <a:lvl9pPr marL="4876557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A7C3F50-683D-0243-BB6D-2441B1306892}"/>
              </a:ext>
            </a:extLst>
          </p:cNvPr>
          <p:cNvSpPr/>
          <p:nvPr userDrawn="1"/>
        </p:nvSpPr>
        <p:spPr>
          <a:xfrm>
            <a:off x="5410674" y="2243587"/>
            <a:ext cx="1370653" cy="1370653"/>
          </a:xfrm>
          <a:prstGeom prst="ellipse">
            <a:avLst/>
          </a:prstGeom>
          <a:solidFill>
            <a:schemeClr val="bg1">
              <a:alpha val="87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F996A1F-5AD3-E843-B526-612C8B0B47B5}"/>
              </a:ext>
            </a:extLst>
          </p:cNvPr>
          <p:cNvSpPr txBox="1">
            <a:spLocks/>
          </p:cNvSpPr>
          <p:nvPr userDrawn="1"/>
        </p:nvSpPr>
        <p:spPr>
          <a:xfrm>
            <a:off x="3295443" y="3169314"/>
            <a:ext cx="5601117" cy="126811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US" sz="2133" b="0" spc="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919BB4-6AB1-8B4A-963B-F19ED20CB1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95442" y="3169314"/>
            <a:ext cx="5601117" cy="1268116"/>
          </a:xfrm>
          <a:prstGeom prst="rect">
            <a:avLst/>
          </a:prstGeom>
        </p:spPr>
        <p:txBody>
          <a:bodyPr wrap="square" anchor="ctr">
            <a:normAutofit/>
          </a:bodyPr>
          <a:lstStyle>
            <a:lvl1pPr marL="0" algn="ctr" defTabSz="121914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cap="all" spc="400" baseline="0" dirty="0">
                <a:solidFill>
                  <a:schemeClr val="bg1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 title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1964" y="2745611"/>
            <a:ext cx="1168072" cy="219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285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B2DCCF1-1875-8B44-AA03-B42E52F089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557" y="400872"/>
            <a:ext cx="11500800" cy="1083373"/>
          </a:xfrm>
          <a:prstGeom prst="rect">
            <a:avLst/>
          </a:prstGeom>
        </p:spPr>
        <p:txBody>
          <a:bodyPr wrap="square" anchor="ctr">
            <a:normAutofit/>
          </a:bodyPr>
          <a:lstStyle>
            <a:lvl1pPr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E0CDAA6-331F-A04C-8D03-5F2A3E85E93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5017" y="1642455"/>
            <a:ext cx="11502427" cy="468942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2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4559" y="6490093"/>
            <a:ext cx="10884360" cy="23031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933">
                <a:solidFill>
                  <a:schemeClr val="tx2"/>
                </a:solidFill>
              </a:defRPr>
            </a:lvl1pPr>
            <a:lvl2pPr marL="365742" indent="0">
              <a:buNone/>
              <a:defRPr sz="533"/>
            </a:lvl2pPr>
            <a:lvl3pPr marL="731483" indent="0">
              <a:buNone/>
              <a:defRPr sz="400"/>
            </a:lvl3pPr>
            <a:lvl4pPr marL="1097225" indent="0">
              <a:buNone/>
              <a:defRPr sz="267"/>
            </a:lvl4pPr>
            <a:lvl5pPr marL="1462966" indent="0">
              <a:buNone/>
              <a:defRPr sz="267"/>
            </a:lvl5pPr>
          </a:lstStyle>
          <a:p>
            <a:pPr lvl="0"/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60548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B2DCCF1-1875-8B44-AA03-B42E52F089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557" y="400872"/>
            <a:ext cx="11500800" cy="1083373"/>
          </a:xfrm>
          <a:prstGeom prst="rect">
            <a:avLst/>
          </a:prstGeom>
        </p:spPr>
        <p:txBody>
          <a:bodyPr wrap="square" anchor="ctr">
            <a:normAutofit/>
          </a:bodyPr>
          <a:lstStyle>
            <a:lvl1pPr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4559" y="6490093"/>
            <a:ext cx="10884360" cy="23031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933">
                <a:solidFill>
                  <a:schemeClr val="tx2"/>
                </a:solidFill>
              </a:defRPr>
            </a:lvl1pPr>
            <a:lvl2pPr marL="365742" indent="0">
              <a:buNone/>
              <a:defRPr sz="533"/>
            </a:lvl2pPr>
            <a:lvl3pPr marL="731483" indent="0">
              <a:buNone/>
              <a:defRPr sz="400"/>
            </a:lvl3pPr>
            <a:lvl4pPr marL="1097225" indent="0">
              <a:buNone/>
              <a:defRPr sz="267"/>
            </a:lvl4pPr>
            <a:lvl5pPr marL="1462966" indent="0">
              <a:buNone/>
              <a:defRPr sz="267"/>
            </a:lvl5pPr>
          </a:lstStyle>
          <a:p>
            <a:pPr lvl="0"/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59315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3194" y="2799079"/>
            <a:ext cx="6705613" cy="1259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596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B2DCCF1-1875-8B44-AA03-B42E52F089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558" y="400871"/>
            <a:ext cx="11502887" cy="1083373"/>
          </a:xfrm>
          <a:prstGeom prst="rect">
            <a:avLst/>
          </a:prstGeom>
        </p:spPr>
        <p:txBody>
          <a:bodyPr wrap="square" anchor="ctr">
            <a:normAutofit/>
          </a:bodyPr>
          <a:lstStyle>
            <a:lvl1pPr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9BCDFE-9539-0646-9A84-BD578E3137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019" y="1484245"/>
            <a:ext cx="11501965" cy="41036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Add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193143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B2DCCF1-1875-8B44-AA03-B42E52F089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557" y="400871"/>
            <a:ext cx="11500800" cy="1083373"/>
          </a:xfrm>
          <a:prstGeom prst="rect">
            <a:avLst/>
          </a:prstGeom>
        </p:spPr>
        <p:txBody>
          <a:bodyPr wrap="square" anchor="ctr">
            <a:normAutofit/>
          </a:bodyPr>
          <a:lstStyle>
            <a:lvl1pPr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2221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B2DCCF1-1875-8B44-AA03-B42E52F089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557" y="400871"/>
            <a:ext cx="11500800" cy="1083373"/>
          </a:xfrm>
          <a:prstGeom prst="rect">
            <a:avLst/>
          </a:prstGeom>
        </p:spPr>
        <p:txBody>
          <a:bodyPr wrap="square" anchor="ctr">
            <a:normAutofit/>
          </a:bodyPr>
          <a:lstStyle>
            <a:lvl1pPr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E0CDAA6-331F-A04C-8D03-5F2A3E85E93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5017" y="1642454"/>
            <a:ext cx="11502427" cy="468942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2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33394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3.sv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sv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7.xml"/><Relationship Id="rId15" Type="http://schemas.openxmlformats.org/officeDocument/2006/relationships/image" Target="../media/image3.svg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11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16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40D321E-CF92-4C60-9E64-320A7FD386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40D321E-CF92-4C60-9E64-320A7FD386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 userDrawn="1"/>
        </p:nvSpPr>
        <p:spPr>
          <a:xfrm>
            <a:off x="10644089" y="6450671"/>
            <a:ext cx="12012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0E9DA30-F077-484F-97D6-ABE9109C3D7F}" type="slidenum">
              <a:rPr lang="en-US" sz="1200" smtClean="0">
                <a:solidFill>
                  <a:schemeClr val="accent3"/>
                </a:solidFill>
                <a:latin typeface="+mn-lt"/>
              </a:rPr>
              <a:pPr algn="r"/>
              <a:t>‹#›</a:t>
            </a:fld>
            <a:endParaRPr lang="en-US" sz="1200" dirty="0">
              <a:solidFill>
                <a:schemeClr val="accent3"/>
              </a:solidFill>
              <a:latin typeface="+mn-lt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E8F001B-CCA0-4CA5-A758-C13FB57B153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74737" y="-3256"/>
            <a:ext cx="1905000" cy="720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963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378" rtl="0" eaLnBrk="1" latinLnBrk="0" hangingPunct="1">
        <a:lnSpc>
          <a:spcPct val="90000"/>
        </a:lnSpc>
        <a:spcBef>
          <a:spcPct val="0"/>
        </a:spcBef>
        <a:buNone/>
        <a:defRPr sz="2400" b="0" kern="1200" cap="all" spc="120" baseline="0">
          <a:solidFill>
            <a:schemeClr val="accent1"/>
          </a:solidFill>
          <a:latin typeface="Gill Sans MT" panose="020B0502020104020203" pitchFamily="34" charset="0"/>
          <a:ea typeface="+mj-ea"/>
          <a:cs typeface="+mj-cs"/>
        </a:defRPr>
      </a:lvl1pPr>
    </p:titleStyle>
    <p:bodyStyle>
      <a:lvl1pPr marL="182876" indent="-182876" algn="l" defTabSz="914378" rtl="0" eaLnBrk="1" latinLnBrk="0" hangingPunct="1">
        <a:lnSpc>
          <a:spcPct val="90000"/>
        </a:lnSpc>
        <a:spcBef>
          <a:spcPts val="1000"/>
        </a:spcBef>
        <a:buClr>
          <a:schemeClr val="accent3"/>
        </a:buClr>
        <a:buFont typeface="Tahoma" panose="020B0604030504040204" pitchFamily="34" charset="0"/>
        <a:buChar char="‣"/>
        <a:defRPr sz="1200" kern="1200">
          <a:solidFill>
            <a:schemeClr val="tx2"/>
          </a:solidFill>
          <a:latin typeface="Gill Sans MT" panose="020B0502020104020203" pitchFamily="34" charset="0"/>
          <a:ea typeface="+mn-ea"/>
          <a:cs typeface="+mn-cs"/>
        </a:defRPr>
      </a:lvl1pPr>
      <a:lvl2pPr marL="457189" indent="-182876" algn="l" defTabSz="914378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Tahoma" panose="020B0604030504040204" pitchFamily="34" charset="0"/>
        <a:buChar char="‣"/>
        <a:defRPr sz="1100" kern="1200">
          <a:solidFill>
            <a:schemeClr val="tx2"/>
          </a:solidFill>
          <a:latin typeface="Gill Sans MT" panose="020B0502020104020203" pitchFamily="34" charset="0"/>
          <a:ea typeface="+mn-ea"/>
          <a:cs typeface="+mn-cs"/>
        </a:defRPr>
      </a:lvl2pPr>
      <a:lvl3pPr marL="731502" indent="-182876" algn="l" defTabSz="914378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Tahoma" panose="020B0604030504040204" pitchFamily="34" charset="0"/>
        <a:buChar char="‣"/>
        <a:defRPr sz="1050" kern="1200">
          <a:solidFill>
            <a:schemeClr val="tx2"/>
          </a:solidFill>
          <a:latin typeface="Gill Sans MT" panose="020B0502020104020203" pitchFamily="34" charset="0"/>
          <a:ea typeface="+mn-ea"/>
          <a:cs typeface="+mn-cs"/>
        </a:defRPr>
      </a:lvl3pPr>
      <a:lvl4pPr marL="1005815" indent="-182876" algn="l" defTabSz="914378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Tahoma" panose="020B0604030504040204" pitchFamily="34" charset="0"/>
        <a:buChar char="‣"/>
        <a:defRPr sz="1000" kern="1200">
          <a:solidFill>
            <a:schemeClr val="tx2"/>
          </a:solidFill>
          <a:latin typeface="Gill Sans MT" panose="020B0502020104020203" pitchFamily="34" charset="0"/>
          <a:ea typeface="+mn-ea"/>
          <a:cs typeface="+mn-cs"/>
        </a:defRPr>
      </a:lvl4pPr>
      <a:lvl5pPr marL="1280128" indent="-182876" algn="l" defTabSz="914378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Tahoma" panose="020B0604030504040204" pitchFamily="34" charset="0"/>
        <a:buChar char="‣"/>
        <a:defRPr sz="1000" kern="1200">
          <a:solidFill>
            <a:schemeClr val="tx2"/>
          </a:solidFill>
          <a:latin typeface="Gill Sans MT" panose="020B0502020104020203" pitchFamily="34" charset="0"/>
          <a:ea typeface="+mn-ea"/>
          <a:cs typeface="+mn-cs"/>
        </a:defRPr>
      </a:lvl5pPr>
      <a:lvl6pPr marL="2514537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userDrawn="1">
          <p15:clr>
            <a:srgbClr val="A4A3A4"/>
          </p15:clr>
        </p15:guide>
        <p15:guide id="2" orient="horz" pos="4125" userDrawn="1">
          <p15:clr>
            <a:srgbClr val="A4A3A4"/>
          </p15:clr>
        </p15:guide>
        <p15:guide id="3" orient="horz" pos="4320" userDrawn="1">
          <p15:clr>
            <a:srgbClr val="A4A3A4"/>
          </p15:clr>
        </p15:guide>
        <p15:guide id="4" userDrawn="1">
          <p15:clr>
            <a:srgbClr val="A4A3A4"/>
          </p15:clr>
        </p15:guide>
        <p15:guide id="5" pos="7680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40D321E-CF92-4C60-9E64-320A7FD386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40D321E-CF92-4C60-9E64-320A7FD386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0280067" y="199379"/>
            <a:ext cx="1687215" cy="312447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10644090" y="6450671"/>
            <a:ext cx="12012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0E9DA30-F077-484F-97D6-ABE9109C3D7F}" type="slidenum">
              <a:rPr lang="en-US" sz="1200" smtClean="0">
                <a:solidFill>
                  <a:schemeClr val="accent3"/>
                </a:solidFill>
                <a:latin typeface="+mn-lt"/>
              </a:rPr>
              <a:pPr algn="r"/>
              <a:t>‹#›</a:t>
            </a:fld>
            <a:endParaRPr lang="en-US" sz="1200" dirty="0">
              <a:solidFill>
                <a:schemeClr val="accent3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66338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10" rtl="0" eaLnBrk="1" latinLnBrk="0" hangingPunct="1">
        <a:lnSpc>
          <a:spcPct val="90000"/>
        </a:lnSpc>
        <a:spcBef>
          <a:spcPct val="0"/>
        </a:spcBef>
        <a:buNone/>
        <a:defRPr sz="3200" b="0" kern="1200" cap="all" spc="160" baseline="0">
          <a:solidFill>
            <a:schemeClr val="accent1"/>
          </a:solidFill>
          <a:latin typeface="Gill Sans MT" panose="020B0502020104020203" pitchFamily="34" charset="0"/>
          <a:ea typeface="+mj-ea"/>
          <a:cs typeface="+mj-cs"/>
        </a:defRPr>
      </a:lvl1pPr>
    </p:titleStyle>
    <p:bodyStyle>
      <a:lvl1pPr marL="243823" indent="-243823" algn="l" defTabSz="1219110" rtl="0" eaLnBrk="1" latinLnBrk="0" hangingPunct="1">
        <a:lnSpc>
          <a:spcPct val="90000"/>
        </a:lnSpc>
        <a:spcBef>
          <a:spcPts val="1333"/>
        </a:spcBef>
        <a:buClr>
          <a:schemeClr val="accent3"/>
        </a:buClr>
        <a:buFont typeface="Tahoma" panose="020B0604030504040204" pitchFamily="34" charset="0"/>
        <a:buChar char="‣"/>
        <a:defRPr sz="1600" kern="1200">
          <a:solidFill>
            <a:schemeClr val="tx2"/>
          </a:solidFill>
          <a:latin typeface="Gill Sans MT" panose="020B0502020104020203" pitchFamily="34" charset="0"/>
          <a:ea typeface="+mn-ea"/>
          <a:cs typeface="+mn-cs"/>
        </a:defRPr>
      </a:lvl1pPr>
      <a:lvl2pPr marL="609555" indent="-243823" algn="l" defTabSz="1219110" rtl="0" eaLnBrk="1" latinLnBrk="0" hangingPunct="1">
        <a:lnSpc>
          <a:spcPct val="90000"/>
        </a:lnSpc>
        <a:spcBef>
          <a:spcPts val="667"/>
        </a:spcBef>
        <a:buClr>
          <a:schemeClr val="accent3"/>
        </a:buClr>
        <a:buFont typeface="Tahoma" panose="020B0604030504040204" pitchFamily="34" charset="0"/>
        <a:buChar char="‣"/>
        <a:defRPr sz="1467" kern="1200">
          <a:solidFill>
            <a:schemeClr val="tx2"/>
          </a:solidFill>
          <a:latin typeface="Gill Sans MT" panose="020B0502020104020203" pitchFamily="34" charset="0"/>
          <a:ea typeface="+mn-ea"/>
          <a:cs typeface="+mn-cs"/>
        </a:defRPr>
      </a:lvl2pPr>
      <a:lvl3pPr marL="975288" indent="-243823" algn="l" defTabSz="1219110" rtl="0" eaLnBrk="1" latinLnBrk="0" hangingPunct="1">
        <a:lnSpc>
          <a:spcPct val="90000"/>
        </a:lnSpc>
        <a:spcBef>
          <a:spcPts val="667"/>
        </a:spcBef>
        <a:buClr>
          <a:schemeClr val="accent3"/>
        </a:buClr>
        <a:buFont typeface="Tahoma" panose="020B0604030504040204" pitchFamily="34" charset="0"/>
        <a:buChar char="‣"/>
        <a:defRPr sz="1400" kern="1200">
          <a:solidFill>
            <a:schemeClr val="tx2"/>
          </a:solidFill>
          <a:latin typeface="Gill Sans MT" panose="020B0502020104020203" pitchFamily="34" charset="0"/>
          <a:ea typeface="+mn-ea"/>
          <a:cs typeface="+mn-cs"/>
        </a:defRPr>
      </a:lvl3pPr>
      <a:lvl4pPr marL="1341020" indent="-243823" algn="l" defTabSz="1219110" rtl="0" eaLnBrk="1" latinLnBrk="0" hangingPunct="1">
        <a:lnSpc>
          <a:spcPct val="90000"/>
        </a:lnSpc>
        <a:spcBef>
          <a:spcPts val="667"/>
        </a:spcBef>
        <a:buClr>
          <a:schemeClr val="accent3"/>
        </a:buClr>
        <a:buFont typeface="Tahoma" panose="020B0604030504040204" pitchFamily="34" charset="0"/>
        <a:buChar char="‣"/>
        <a:defRPr sz="1333" kern="1200">
          <a:solidFill>
            <a:schemeClr val="tx2"/>
          </a:solidFill>
          <a:latin typeface="Gill Sans MT" panose="020B0502020104020203" pitchFamily="34" charset="0"/>
          <a:ea typeface="+mn-ea"/>
          <a:cs typeface="+mn-cs"/>
        </a:defRPr>
      </a:lvl4pPr>
      <a:lvl5pPr marL="1706752" indent="-243823" algn="l" defTabSz="1219110" rtl="0" eaLnBrk="1" latinLnBrk="0" hangingPunct="1">
        <a:lnSpc>
          <a:spcPct val="90000"/>
        </a:lnSpc>
        <a:spcBef>
          <a:spcPts val="667"/>
        </a:spcBef>
        <a:buClr>
          <a:schemeClr val="accent3"/>
        </a:buClr>
        <a:buFont typeface="Tahoma" panose="020B0604030504040204" pitchFamily="34" charset="0"/>
        <a:buChar char="‣"/>
        <a:defRPr sz="1333" kern="1200">
          <a:solidFill>
            <a:schemeClr val="tx2"/>
          </a:solidFill>
          <a:latin typeface="Gill Sans MT" panose="020B0502020104020203" pitchFamily="34" charset="0"/>
          <a:ea typeface="+mn-ea"/>
          <a:cs typeface="+mn-cs"/>
        </a:defRPr>
      </a:lvl5pPr>
      <a:lvl6pPr marL="3352548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>
          <p15:clr>
            <a:srgbClr val="A4A3A4"/>
          </p15:clr>
        </p15:guide>
        <p15:guide id="2" orient="horz" pos="3094">
          <p15:clr>
            <a:srgbClr val="A4A3A4"/>
          </p15:clr>
        </p15:guide>
        <p15:guide id="3" orient="horz" pos="3240">
          <p15:clr>
            <a:srgbClr val="A4A3A4"/>
          </p15:clr>
        </p15:guide>
        <p15:guide id="4">
          <p15:clr>
            <a:srgbClr val="A4A3A4"/>
          </p15:clr>
        </p15:guide>
        <p15:guide id="5" pos="5760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40D321E-CF92-4C60-9E64-320A7FD386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96016799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95" imgH="396" progId="TCLayout.ActiveDocument.1">
                  <p:embed/>
                </p:oleObj>
              </mc:Choice>
              <mc:Fallback>
                <p:oleObj name="think-cell Slide" r:id="rId12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40D321E-CF92-4C60-9E64-320A7FD386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 userDrawn="1"/>
        </p:nvSpPr>
        <p:spPr>
          <a:xfrm>
            <a:off x="10644089" y="6450671"/>
            <a:ext cx="12012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0E9DA30-F077-484F-97D6-ABE9109C3D7F}" type="slidenum">
              <a:rPr lang="en-US" sz="1200" smtClean="0">
                <a:solidFill>
                  <a:schemeClr val="accent3"/>
                </a:solidFill>
                <a:latin typeface="+mn-lt"/>
              </a:rPr>
              <a:pPr algn="r"/>
              <a:t>‹#›</a:t>
            </a:fld>
            <a:endParaRPr lang="en-US" sz="1200" dirty="0">
              <a:solidFill>
                <a:schemeClr val="accent3"/>
              </a:solidFill>
              <a:latin typeface="+mn-lt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E8F001B-CCA0-4CA5-A758-C13FB57B153C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174737" y="-3256"/>
            <a:ext cx="1905000" cy="720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732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  <p:sldLayoutId id="2147483838" r:id="rId8"/>
    <p:sldLayoutId id="2147483841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219140" rtl="0" eaLnBrk="1" latinLnBrk="0" hangingPunct="1">
        <a:lnSpc>
          <a:spcPct val="90000"/>
        </a:lnSpc>
        <a:spcBef>
          <a:spcPct val="0"/>
        </a:spcBef>
        <a:buNone/>
        <a:defRPr sz="3200" b="0" kern="1200" cap="all" spc="160" baseline="0">
          <a:solidFill>
            <a:schemeClr val="accent1"/>
          </a:solidFill>
          <a:latin typeface="Gill Sans MT" panose="020B0502020104020203" pitchFamily="34" charset="0"/>
          <a:ea typeface="+mj-ea"/>
          <a:cs typeface="+mj-cs"/>
        </a:defRPr>
      </a:lvl1pPr>
    </p:titleStyle>
    <p:bodyStyle>
      <a:lvl1pPr marL="243829" indent="-243829" algn="l" defTabSz="1219140" rtl="0" eaLnBrk="1" latinLnBrk="0" hangingPunct="1">
        <a:lnSpc>
          <a:spcPct val="90000"/>
        </a:lnSpc>
        <a:spcBef>
          <a:spcPts val="1333"/>
        </a:spcBef>
        <a:buClr>
          <a:schemeClr val="accent3"/>
        </a:buClr>
        <a:buFont typeface="Tahoma" panose="020B0604030504040204" pitchFamily="34" charset="0"/>
        <a:buChar char="‣"/>
        <a:defRPr sz="1600" kern="1200">
          <a:solidFill>
            <a:schemeClr val="tx2"/>
          </a:solidFill>
          <a:latin typeface="Gill Sans MT" panose="020B0502020104020203" pitchFamily="34" charset="0"/>
          <a:ea typeface="+mn-ea"/>
          <a:cs typeface="+mn-cs"/>
        </a:defRPr>
      </a:lvl1pPr>
      <a:lvl2pPr marL="609570" indent="-243829" algn="l" defTabSz="1219140" rtl="0" eaLnBrk="1" latinLnBrk="0" hangingPunct="1">
        <a:lnSpc>
          <a:spcPct val="90000"/>
        </a:lnSpc>
        <a:spcBef>
          <a:spcPts val="667"/>
        </a:spcBef>
        <a:buClr>
          <a:schemeClr val="accent3"/>
        </a:buClr>
        <a:buFont typeface="Tahoma" panose="020B0604030504040204" pitchFamily="34" charset="0"/>
        <a:buChar char="‣"/>
        <a:defRPr sz="1467" kern="1200">
          <a:solidFill>
            <a:schemeClr val="tx2"/>
          </a:solidFill>
          <a:latin typeface="Gill Sans MT" panose="020B0502020104020203" pitchFamily="34" charset="0"/>
          <a:ea typeface="+mn-ea"/>
          <a:cs typeface="+mn-cs"/>
        </a:defRPr>
      </a:lvl2pPr>
      <a:lvl3pPr marL="975312" indent="-243829" algn="l" defTabSz="1219140" rtl="0" eaLnBrk="1" latinLnBrk="0" hangingPunct="1">
        <a:lnSpc>
          <a:spcPct val="90000"/>
        </a:lnSpc>
        <a:spcBef>
          <a:spcPts val="667"/>
        </a:spcBef>
        <a:buClr>
          <a:schemeClr val="accent3"/>
        </a:buClr>
        <a:buFont typeface="Tahoma" panose="020B0604030504040204" pitchFamily="34" charset="0"/>
        <a:buChar char="‣"/>
        <a:defRPr sz="1400" kern="1200">
          <a:solidFill>
            <a:schemeClr val="tx2"/>
          </a:solidFill>
          <a:latin typeface="Gill Sans MT" panose="020B0502020104020203" pitchFamily="34" charset="0"/>
          <a:ea typeface="+mn-ea"/>
          <a:cs typeface="+mn-cs"/>
        </a:defRPr>
      </a:lvl3pPr>
      <a:lvl4pPr marL="1341053" indent="-243829" algn="l" defTabSz="1219140" rtl="0" eaLnBrk="1" latinLnBrk="0" hangingPunct="1">
        <a:lnSpc>
          <a:spcPct val="90000"/>
        </a:lnSpc>
        <a:spcBef>
          <a:spcPts val="667"/>
        </a:spcBef>
        <a:buClr>
          <a:schemeClr val="accent3"/>
        </a:buClr>
        <a:buFont typeface="Tahoma" panose="020B0604030504040204" pitchFamily="34" charset="0"/>
        <a:buChar char="‣"/>
        <a:defRPr sz="1333" kern="1200">
          <a:solidFill>
            <a:schemeClr val="tx2"/>
          </a:solidFill>
          <a:latin typeface="Gill Sans MT" panose="020B0502020104020203" pitchFamily="34" charset="0"/>
          <a:ea typeface="+mn-ea"/>
          <a:cs typeface="+mn-cs"/>
        </a:defRPr>
      </a:lvl4pPr>
      <a:lvl5pPr marL="1706795" indent="-243829" algn="l" defTabSz="1219140" rtl="0" eaLnBrk="1" latinLnBrk="0" hangingPunct="1">
        <a:lnSpc>
          <a:spcPct val="90000"/>
        </a:lnSpc>
        <a:spcBef>
          <a:spcPts val="667"/>
        </a:spcBef>
        <a:buClr>
          <a:schemeClr val="accent3"/>
        </a:buClr>
        <a:buFont typeface="Tahoma" panose="020B0604030504040204" pitchFamily="34" charset="0"/>
        <a:buChar char="‣"/>
        <a:defRPr sz="1333" kern="1200">
          <a:solidFill>
            <a:schemeClr val="tx2"/>
          </a:solidFill>
          <a:latin typeface="Gill Sans MT" panose="020B0502020104020203" pitchFamily="34" charset="0"/>
          <a:ea typeface="+mn-ea"/>
          <a:cs typeface="+mn-cs"/>
        </a:defRPr>
      </a:lvl5pPr>
      <a:lvl6pPr marL="335263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>
          <p15:clr>
            <a:srgbClr val="A4A3A4"/>
          </p15:clr>
        </p15:guide>
        <p15:guide id="2" orient="horz" pos="3094">
          <p15:clr>
            <a:srgbClr val="A4A3A4"/>
          </p15:clr>
        </p15:guide>
        <p15:guide id="3" orient="horz" pos="3240">
          <p15:clr>
            <a:srgbClr val="A4A3A4"/>
          </p15:clr>
        </p15:guide>
        <p15:guide id="4">
          <p15:clr>
            <a:srgbClr val="A4A3A4"/>
          </p15:clr>
        </p15:guide>
        <p15:guide id="5" pos="5760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9D8D6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1094371-CE39-44D3-91C7-A7968FDBA42F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047030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47" imgH="348" progId="TCLayout.ActiveDocument.1">
                  <p:embed/>
                </p:oleObj>
              </mc:Choice>
              <mc:Fallback>
                <p:oleObj name="think-cell Slide" r:id="rId11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1094371-CE39-44D3-91C7-A7968FDBA4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1902FA6-24E0-3C4A-8B7A-F529DB1228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399" y="265078"/>
            <a:ext cx="10667999" cy="99591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845A71-C369-2A42-A14F-2BD1985F75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14400" y="1524000"/>
            <a:ext cx="10668000" cy="46529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AD7FB9E-FACC-938D-1759-E4863B29C40B}"/>
              </a:ext>
            </a:extLst>
          </p:cNvPr>
          <p:cNvSpPr/>
          <p:nvPr userDrawn="1"/>
        </p:nvSpPr>
        <p:spPr>
          <a:xfrm>
            <a:off x="11226800" y="6478070"/>
            <a:ext cx="635000" cy="2402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fld id="{8567DE13-A9E1-46D8-9797-DB61A9901644}" type="slidenum">
              <a:rPr lang="en-US" sz="1000" b="1" smtClean="0">
                <a:solidFill>
                  <a:schemeClr val="accent2"/>
                </a:solidFill>
              </a:rPr>
              <a:pPr algn="r"/>
              <a:t>‹#›</a:t>
            </a:fld>
            <a:endParaRPr lang="en-US" sz="1000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055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49" r:id="rId4"/>
    <p:sldLayoutId id="2147483850" r:id="rId5"/>
    <p:sldLayoutId id="2147483851" r:id="rId6"/>
    <p:sldLayoutId id="2147483852" r:id="rId7"/>
    <p:sldLayoutId id="2147483853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bg1">
              <a:lumMod val="10000"/>
            </a:schemeClr>
          </a:solidFill>
          <a:latin typeface="+mn-lt"/>
          <a:ea typeface="+mn-ea"/>
          <a:cs typeface="+mn-cs"/>
        </a:defRPr>
      </a:lvl1pPr>
      <a:lvl2pPr marL="59436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stem Font Regular"/>
        <a:buChar char="–"/>
        <a:defRPr sz="1800" kern="1200">
          <a:solidFill>
            <a:schemeClr val="bg1">
              <a:lumMod val="10000"/>
            </a:schemeClr>
          </a:solidFill>
          <a:latin typeface="+mn-lt"/>
          <a:ea typeface="+mn-ea"/>
          <a:cs typeface="+mn-cs"/>
        </a:defRPr>
      </a:lvl2pPr>
      <a:lvl3pPr marL="960120" indent="-13716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bg1">
              <a:lumMod val="10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System Font Regular"/>
        <a:buChar char="–"/>
        <a:defRPr sz="1800" kern="1200">
          <a:solidFill>
            <a:schemeClr val="bg1">
              <a:lumMod val="1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System Font Regular"/>
        <a:buChar char="–"/>
        <a:defRPr sz="1800" kern="1200">
          <a:solidFill>
            <a:schemeClr val="bg1">
              <a:lumMod val="1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88">
          <p15:clr>
            <a:srgbClr val="F26B43"/>
          </p15:clr>
        </p15:guide>
        <p15:guide id="2" pos="456">
          <p15:clr>
            <a:srgbClr val="F26B43"/>
          </p15:clr>
        </p15:guide>
        <p15:guide id="3" pos="6720">
          <p15:clr>
            <a:srgbClr val="F26B43"/>
          </p15:clr>
        </p15:guide>
        <p15:guide id="5" orient="horz" pos="39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https://supplier.ariba.com/" TargetMode="Externa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11.xml"/><Relationship Id="rId2" Type="http://schemas.openxmlformats.org/officeDocument/2006/relationships/slide" Target="slide4.xml"/><Relationship Id="rId1" Type="http://schemas.openxmlformats.org/officeDocument/2006/relationships/slideLayout" Target="../slideLayouts/slideLayout13.xml"/><Relationship Id="rId4" Type="http://schemas.openxmlformats.org/officeDocument/2006/relationships/slide" Target="slide1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https://supplier.ariba.com/" TargetMode="Externa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hyperlink" Target="mailto:ordersender-prod@ansmtp.ariba.com" TargetMode="Externa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29">
            <a:extLst>
              <a:ext uri="{FF2B5EF4-FFF2-40B4-BE49-F238E27FC236}">
                <a16:creationId xmlns:a16="http://schemas.microsoft.com/office/drawing/2014/main" id="{486E1210-1A15-9788-AA23-3D8A8B17DD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050" y="4043544"/>
            <a:ext cx="7061200" cy="995915"/>
          </a:xfrm>
        </p:spPr>
        <p:txBody>
          <a:bodyPr/>
          <a:lstStyle/>
          <a:p>
            <a:r>
              <a:rPr lang="en-US" sz="4400" dirty="0"/>
              <a:t>How to Become a BeiGene Supplier</a:t>
            </a:r>
          </a:p>
        </p:txBody>
      </p:sp>
    </p:spTree>
    <p:extLst>
      <p:ext uri="{BB962C8B-B14F-4D97-AF65-F5344CB8AC3E}">
        <p14:creationId xmlns:p14="http://schemas.microsoft.com/office/powerpoint/2010/main" val="692573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5A9CC9-1B43-851B-6932-B08F9EAAEF7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4672" y="1222431"/>
            <a:ext cx="11135076" cy="1333167"/>
          </a:xfrm>
        </p:spPr>
        <p:txBody>
          <a:bodyPr/>
          <a:lstStyle/>
          <a:p>
            <a:pPr marL="0" indent="0">
              <a:buNone/>
            </a:pPr>
            <a:r>
              <a:rPr lang="en-US" sz="1800" b="1" dirty="0">
                <a:solidFill>
                  <a:schemeClr val="accent6"/>
                </a:solidFill>
              </a:rPr>
              <a:t>STEP 6</a:t>
            </a:r>
            <a:r>
              <a:rPr lang="en-US" sz="1800" dirty="0">
                <a:solidFill>
                  <a:schemeClr val="bg1"/>
                </a:solidFill>
              </a:rPr>
              <a:t> – You will be directed to the Welcome page where you can complete the BeiGene Supplier Registration Questionnaire </a:t>
            </a:r>
            <a:endParaRPr lang="en-US" sz="1800" b="1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65C5E90-570F-290E-C98E-1AC7BC21720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r>
              <a:rPr lang="en-US" dirty="0"/>
              <a:t>SAP Business Network Account Registratio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BA5747D-636B-B8BA-79FE-2E985A14CA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2572" y="1889014"/>
            <a:ext cx="9439275" cy="4179734"/>
          </a:xfrm>
          <a:prstGeom prst="rect">
            <a:avLst/>
          </a:prstGeom>
          <a:ln w="6350">
            <a:solidFill>
              <a:schemeClr val="bg2">
                <a:lumMod val="40000"/>
                <a:lumOff val="6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853132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CAD609-C276-ED26-6F38-B861FE2D8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77246" y="1375939"/>
            <a:ext cx="5083917" cy="4853411"/>
          </a:xfrm>
        </p:spPr>
        <p:txBody>
          <a:bodyPr/>
          <a:lstStyle/>
          <a:p>
            <a:r>
              <a:rPr lang="en-US" sz="4000" dirty="0"/>
              <a:t>BeiGene Supplier Registration Questionnaire</a:t>
            </a:r>
            <a:br>
              <a:rPr lang="en-US" sz="4000" dirty="0"/>
            </a:br>
            <a:br>
              <a:rPr lang="en-US" sz="4000" dirty="0"/>
            </a:br>
            <a:endParaRPr lang="en-US" sz="28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FD08949-2A70-A8CE-08CD-E6E9F6239F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FEFF75-79D2-EE46-877B-299D1510E68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83786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83786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5595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A137F2-84CC-1F5F-1679-362703149B0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r>
              <a:rPr lang="en-US" dirty="0"/>
              <a:t>BeiGene Supplier Registration Questionnai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FF5E3A5-A791-24EA-3167-D4CB2FE39290}"/>
              </a:ext>
            </a:extLst>
          </p:cNvPr>
          <p:cNvSpPr txBox="1"/>
          <p:nvPr/>
        </p:nvSpPr>
        <p:spPr>
          <a:xfrm>
            <a:off x="739448" y="1304448"/>
            <a:ext cx="11195377" cy="48013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6"/>
                </a:solidFill>
              </a:rPr>
              <a:t>STEP 1</a:t>
            </a:r>
            <a:r>
              <a:rPr lang="en-US" dirty="0">
                <a:solidFill>
                  <a:schemeClr val="bg1"/>
                </a:solidFill>
              </a:rPr>
              <a:t> -  Complete all mandatory fields in the registration form. 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b="1" dirty="0">
                <a:solidFill>
                  <a:schemeClr val="accent2"/>
                </a:solidFill>
              </a:rPr>
              <a:t>** </a:t>
            </a:r>
            <a:r>
              <a:rPr lang="en-US" sz="1600" u="sng" dirty="0">
                <a:solidFill>
                  <a:schemeClr val="bg1"/>
                </a:solidFill>
              </a:rPr>
              <a:t>Be sure to read all </a:t>
            </a:r>
          </a:p>
          <a:p>
            <a:r>
              <a:rPr lang="en-US" sz="1600" u="sng" dirty="0">
                <a:solidFill>
                  <a:schemeClr val="bg1"/>
                </a:solidFill>
              </a:rPr>
              <a:t>instructions to ensure </a:t>
            </a:r>
          </a:p>
          <a:p>
            <a:r>
              <a:rPr lang="en-US" sz="1600" u="sng" dirty="0">
                <a:solidFill>
                  <a:schemeClr val="bg1"/>
                </a:solidFill>
              </a:rPr>
              <a:t>that your registration </a:t>
            </a:r>
          </a:p>
          <a:p>
            <a:r>
              <a:rPr lang="en-US" sz="1600" u="sng" dirty="0">
                <a:solidFill>
                  <a:schemeClr val="bg1"/>
                </a:solidFill>
              </a:rPr>
              <a:t>information is processed </a:t>
            </a:r>
          </a:p>
          <a:p>
            <a:r>
              <a:rPr lang="en-US" sz="1600" u="sng" dirty="0">
                <a:solidFill>
                  <a:schemeClr val="bg1"/>
                </a:solidFill>
              </a:rPr>
              <a:t>promptly</a:t>
            </a:r>
          </a:p>
          <a:p>
            <a:endParaRPr lang="en-US" sz="1600" u="sng" dirty="0">
              <a:solidFill>
                <a:schemeClr val="bg1"/>
              </a:solidFill>
            </a:endParaRPr>
          </a:p>
          <a:p>
            <a:endParaRPr lang="en-US" sz="1600" u="sng" dirty="0">
              <a:solidFill>
                <a:schemeClr val="bg1"/>
              </a:solidFill>
            </a:endParaRPr>
          </a:p>
          <a:p>
            <a:endParaRPr lang="en-US" sz="1600" u="sng" dirty="0">
              <a:solidFill>
                <a:schemeClr val="bg1"/>
              </a:solidFill>
            </a:endParaRPr>
          </a:p>
          <a:p>
            <a:endParaRPr lang="en-US" sz="1600" u="sng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  <a:p>
            <a:r>
              <a:rPr lang="en-US" sz="1200" b="0" i="0" dirty="0">
                <a:solidFill>
                  <a:schemeClr val="bg1"/>
                </a:solidFill>
                <a:effectLst/>
                <a:highlight>
                  <a:srgbClr val="FFFF00"/>
                </a:highlight>
                <a:latin typeface="SAP-72-Regular"/>
              </a:rPr>
              <a:t>Please enter the phone number without space, dash, </a:t>
            </a:r>
          </a:p>
          <a:p>
            <a:r>
              <a:rPr lang="en-US" sz="1200" b="0" i="0" dirty="0">
                <a:solidFill>
                  <a:schemeClr val="bg1"/>
                </a:solidFill>
                <a:effectLst/>
                <a:highlight>
                  <a:srgbClr val="FFFF00"/>
                </a:highlight>
                <a:latin typeface="SAP-72-Regular"/>
              </a:rPr>
              <a:t>or extension</a:t>
            </a:r>
            <a:endParaRPr lang="en-US" sz="1200" dirty="0">
              <a:solidFill>
                <a:schemeClr val="bg1"/>
              </a:solidFill>
              <a:highlight>
                <a:srgbClr val="FFFF00"/>
              </a:highlight>
            </a:endParaRPr>
          </a:p>
          <a:p>
            <a:endParaRPr lang="en-US" sz="1200" dirty="0">
              <a:solidFill>
                <a:schemeClr val="bg1"/>
              </a:solidFill>
            </a:endParaRPr>
          </a:p>
          <a:p>
            <a:endParaRPr lang="en-US" b="1" dirty="0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A618EEB-DA2B-90DC-3CD1-E538F87FB9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48175" y="1835239"/>
            <a:ext cx="7595687" cy="4293696"/>
          </a:xfrm>
          <a:prstGeom prst="rect">
            <a:avLst/>
          </a:prstGeom>
          <a:ln w="6350">
            <a:solidFill>
              <a:schemeClr val="tx1">
                <a:lumMod val="75000"/>
              </a:schemeClr>
            </a:solidFill>
          </a:ln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14A444EB-F12B-DF26-33C2-9B84A51AD32D}"/>
              </a:ext>
            </a:extLst>
          </p:cNvPr>
          <p:cNvCxnSpPr>
            <a:cxnSpLocks/>
          </p:cNvCxnSpPr>
          <p:nvPr/>
        </p:nvCxnSpPr>
        <p:spPr>
          <a:xfrm>
            <a:off x="3362325" y="3133725"/>
            <a:ext cx="108585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7B29361F-54BF-ED2A-947F-0C27E42E6124}"/>
              </a:ext>
            </a:extLst>
          </p:cNvPr>
          <p:cNvCxnSpPr>
            <a:cxnSpLocks/>
          </p:cNvCxnSpPr>
          <p:nvPr/>
        </p:nvCxnSpPr>
        <p:spPr>
          <a:xfrm>
            <a:off x="3362325" y="5572125"/>
            <a:ext cx="1109662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9605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A137F2-84CC-1F5F-1679-362703149B0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r>
              <a:rPr lang="en-US" dirty="0"/>
              <a:t>BeiGene Supplier Registration Questionnai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B91E75E-D13F-0ECA-4BE2-4F4F64844749}"/>
              </a:ext>
            </a:extLst>
          </p:cNvPr>
          <p:cNvSpPr txBox="1"/>
          <p:nvPr/>
        </p:nvSpPr>
        <p:spPr>
          <a:xfrm>
            <a:off x="739448" y="1238250"/>
            <a:ext cx="102905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6"/>
                </a:solidFill>
              </a:rPr>
              <a:t>STEP 2</a:t>
            </a:r>
            <a:r>
              <a:rPr lang="en-US" dirty="0">
                <a:solidFill>
                  <a:schemeClr val="bg1"/>
                </a:solidFill>
              </a:rPr>
              <a:t> -  Vendor Address and Accounts Receivables: Please complete all required fields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E97EB91-7203-0B75-3B7D-A8A8B03859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8993" y="1828800"/>
            <a:ext cx="9054013" cy="4781550"/>
          </a:xfrm>
          <a:prstGeom prst="rect">
            <a:avLst/>
          </a:prstGeom>
          <a:ln w="6350">
            <a:solidFill>
              <a:schemeClr val="tx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749998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A137F2-84CC-1F5F-1679-362703149B0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r>
              <a:rPr lang="en-US" dirty="0"/>
              <a:t>BeiGene Supplier Registration Questionnai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B91E75E-D13F-0ECA-4BE2-4F4F64844749}"/>
              </a:ext>
            </a:extLst>
          </p:cNvPr>
          <p:cNvSpPr txBox="1"/>
          <p:nvPr/>
        </p:nvSpPr>
        <p:spPr>
          <a:xfrm>
            <a:off x="606098" y="1209675"/>
            <a:ext cx="11376352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6"/>
                </a:solidFill>
              </a:rPr>
              <a:t>STEP 3</a:t>
            </a:r>
            <a:r>
              <a:rPr lang="en-US" dirty="0">
                <a:solidFill>
                  <a:schemeClr val="bg1"/>
                </a:solidFill>
              </a:rPr>
              <a:t> -  Banking Information – choose Corporation or Individual for question 6.1, then click on the </a:t>
            </a:r>
            <a:r>
              <a:rPr lang="en-US" b="1" dirty="0">
                <a:solidFill>
                  <a:schemeClr val="bg1"/>
                </a:solidFill>
              </a:rPr>
              <a:t>Add Bank Details</a:t>
            </a:r>
            <a:r>
              <a:rPr lang="en-US" dirty="0">
                <a:solidFill>
                  <a:schemeClr val="bg1"/>
                </a:solidFill>
              </a:rPr>
              <a:t> Link 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b="1" dirty="0">
                <a:solidFill>
                  <a:schemeClr val="accent6"/>
                </a:solidFill>
              </a:rPr>
              <a:t>STEP 4</a:t>
            </a:r>
            <a:r>
              <a:rPr lang="en-US" dirty="0">
                <a:solidFill>
                  <a:schemeClr val="bg1"/>
                </a:solidFill>
              </a:rPr>
              <a:t> – Click on </a:t>
            </a:r>
            <a:r>
              <a:rPr lang="en-US" b="1" dirty="0">
                <a:solidFill>
                  <a:schemeClr val="bg1"/>
                </a:solidFill>
              </a:rPr>
              <a:t>Add Bank Details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16ED667-24B1-225F-5B0E-88758EFC26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5552" y="2161580"/>
            <a:ext cx="10507000" cy="1448395"/>
          </a:xfrm>
          <a:prstGeom prst="rect">
            <a:avLst/>
          </a:prstGeom>
          <a:ln w="6350">
            <a:solidFill>
              <a:schemeClr val="tx1">
                <a:lumMod val="75000"/>
              </a:schemeClr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E41A7DE-1D43-1263-1A9F-ADBE585E89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58403" y="4561880"/>
            <a:ext cx="5547841" cy="1767993"/>
          </a:xfrm>
          <a:prstGeom prst="rect">
            <a:avLst/>
          </a:prstGeom>
          <a:ln w="6350">
            <a:solidFill>
              <a:schemeClr val="tx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331311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A137F2-84CC-1F5F-1679-362703149B0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r>
              <a:rPr lang="en-US" dirty="0"/>
              <a:t>BeiGene Supplier Registration Questionnai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B91E75E-D13F-0ECA-4BE2-4F4F64844749}"/>
              </a:ext>
            </a:extLst>
          </p:cNvPr>
          <p:cNvSpPr txBox="1"/>
          <p:nvPr/>
        </p:nvSpPr>
        <p:spPr>
          <a:xfrm>
            <a:off x="739448" y="1238250"/>
            <a:ext cx="10290502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6"/>
                </a:solidFill>
              </a:rPr>
              <a:t>STEP 5</a:t>
            </a:r>
            <a:r>
              <a:rPr lang="en-US" dirty="0">
                <a:solidFill>
                  <a:schemeClr val="bg1"/>
                </a:solidFill>
              </a:rPr>
              <a:t> -  Please provide the banking information that matches the banking information on your invoices to avoid delay in payment processing</a:t>
            </a:r>
          </a:p>
          <a:p>
            <a:endParaRPr lang="en-US" sz="8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  <a:highlight>
                  <a:srgbClr val="FFFF00"/>
                </a:highlight>
              </a:rPr>
              <a:t>* Important: Please follow the guidelines with detailed instructions on how to enter bank details correctly 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90CD6A9-57BA-28D3-9802-8C05D31AE1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3180" y="2367316"/>
            <a:ext cx="8245639" cy="2871536"/>
          </a:xfrm>
          <a:prstGeom prst="rect">
            <a:avLst/>
          </a:prstGeom>
          <a:ln w="6350">
            <a:solidFill>
              <a:schemeClr val="tx1">
                <a:lumMod val="75000"/>
              </a:schemeClr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BCDE773-0FC1-A67E-C8BB-B71BF8662883}"/>
              </a:ext>
            </a:extLst>
          </p:cNvPr>
          <p:cNvSpPr txBox="1"/>
          <p:nvPr/>
        </p:nvSpPr>
        <p:spPr>
          <a:xfrm>
            <a:off x="739447" y="5730800"/>
            <a:ext cx="695675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6"/>
                </a:solidFill>
              </a:rPr>
              <a:t>STEP 6</a:t>
            </a:r>
            <a:r>
              <a:rPr lang="en-US" dirty="0">
                <a:solidFill>
                  <a:schemeClr val="bg1"/>
                </a:solidFill>
              </a:rPr>
              <a:t> – Click on </a:t>
            </a:r>
            <a:r>
              <a:rPr lang="en-US" b="1" dirty="0">
                <a:solidFill>
                  <a:schemeClr val="bg1"/>
                </a:solidFill>
              </a:rPr>
              <a:t>Save</a:t>
            </a:r>
            <a:r>
              <a:rPr lang="en-US" dirty="0">
                <a:solidFill>
                  <a:schemeClr val="bg1"/>
                </a:solidFill>
              </a:rPr>
              <a:t> located on the top right side of the screen 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5D652B8-998C-5B8E-3130-B1D11127D6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67675" y="5557273"/>
            <a:ext cx="1504950" cy="637391"/>
          </a:xfrm>
          <a:prstGeom prst="rect">
            <a:avLst/>
          </a:prstGeom>
          <a:ln w="6350">
            <a:solidFill>
              <a:schemeClr val="tx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416005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A137F2-84CC-1F5F-1679-362703149B0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r>
              <a:rPr lang="en-US" dirty="0"/>
              <a:t>BeiGene Supplier Registration Questionnai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B91E75E-D13F-0ECA-4BE2-4F4F64844749}"/>
              </a:ext>
            </a:extLst>
          </p:cNvPr>
          <p:cNvSpPr txBox="1"/>
          <p:nvPr/>
        </p:nvSpPr>
        <p:spPr>
          <a:xfrm>
            <a:off x="739447" y="1079717"/>
            <a:ext cx="102905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6"/>
                </a:solidFill>
              </a:rPr>
              <a:t>STEP 7</a:t>
            </a:r>
            <a:r>
              <a:rPr lang="en-US" dirty="0">
                <a:solidFill>
                  <a:schemeClr val="bg1"/>
                </a:solidFill>
              </a:rPr>
              <a:t> -  Tax Information – provide your TAX inform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D24D73D-5434-3DFC-5B53-22B9E8FC4195}"/>
              </a:ext>
            </a:extLst>
          </p:cNvPr>
          <p:cNvSpPr txBox="1"/>
          <p:nvPr/>
        </p:nvSpPr>
        <p:spPr>
          <a:xfrm>
            <a:off x="739447" y="3335954"/>
            <a:ext cx="1107155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6"/>
                </a:solidFill>
              </a:rPr>
              <a:t>STEP 8</a:t>
            </a:r>
            <a:r>
              <a:rPr lang="en-US" dirty="0">
                <a:solidFill>
                  <a:schemeClr val="bg1"/>
                </a:solidFill>
              </a:rPr>
              <a:t> —You must click on the links to review the </a:t>
            </a:r>
            <a:r>
              <a:rPr lang="en-US" b="1" dirty="0">
                <a:solidFill>
                  <a:schemeClr val="bg1"/>
                </a:solidFill>
              </a:rPr>
              <a:t>Supplier Code of Conduct </a:t>
            </a:r>
            <a:r>
              <a:rPr lang="en-US" dirty="0">
                <a:solidFill>
                  <a:schemeClr val="bg1"/>
                </a:solidFill>
              </a:rPr>
              <a:t>and </a:t>
            </a:r>
            <a:r>
              <a:rPr lang="en-US" b="1" dirty="0">
                <a:solidFill>
                  <a:schemeClr val="bg1"/>
                </a:solidFill>
              </a:rPr>
              <a:t>BeiGene’s PO T&amp;Cs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         You are required to complete the </a:t>
            </a:r>
            <a:r>
              <a:rPr lang="en-US" b="1" dirty="0">
                <a:solidFill>
                  <a:schemeClr val="bg1"/>
                </a:solidFill>
              </a:rPr>
              <a:t>Risk Management and Supplier Diversity Status Questionnai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6CF63FE-C1C1-D038-20B9-7C8E5BF603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2834" y="4239734"/>
            <a:ext cx="10074731" cy="1780066"/>
          </a:xfrm>
          <a:prstGeom prst="rect">
            <a:avLst/>
          </a:prstGeom>
          <a:ln w="6350">
            <a:solidFill>
              <a:schemeClr val="tx1">
                <a:lumMod val="75000"/>
              </a:schemeClr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2E0DA0E-2A0E-B7F5-B14A-0747934B48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9447" y="1527147"/>
            <a:ext cx="10866624" cy="1551358"/>
          </a:xfrm>
          <a:prstGeom prst="rect">
            <a:avLst/>
          </a:prstGeom>
          <a:ln w="6350">
            <a:solidFill>
              <a:schemeClr val="tx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576123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A137F2-84CC-1F5F-1679-362703149B0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r>
              <a:rPr lang="en-US" dirty="0"/>
              <a:t>BeiGene Supplier Registration Questionnai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B91E75E-D13F-0ECA-4BE2-4F4F64844749}"/>
              </a:ext>
            </a:extLst>
          </p:cNvPr>
          <p:cNvSpPr txBox="1"/>
          <p:nvPr/>
        </p:nvSpPr>
        <p:spPr>
          <a:xfrm>
            <a:off x="739448" y="1238250"/>
            <a:ext cx="10290502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6"/>
                </a:solidFill>
              </a:rPr>
              <a:t>STEP 9</a:t>
            </a:r>
            <a:r>
              <a:rPr lang="en-US" dirty="0">
                <a:solidFill>
                  <a:schemeClr val="bg1"/>
                </a:solidFill>
              </a:rPr>
              <a:t> -  Submit your response: 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>
                <a:solidFill>
                  <a:schemeClr val="bg1"/>
                </a:solidFill>
              </a:rPr>
              <a:t>Select “Submit Entire Response”. The questionnaire will be sent to BeiGene for further verification. 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b="1" dirty="0">
                <a:solidFill>
                  <a:schemeClr val="accent6"/>
                </a:solidFill>
              </a:rPr>
              <a:t>Tip:</a:t>
            </a:r>
            <a:r>
              <a:rPr lang="en-US" dirty="0">
                <a:solidFill>
                  <a:schemeClr val="bg1"/>
                </a:solidFill>
              </a:rPr>
              <a:t> You can select “Save draft” to save current progress. The form will not be shared with BeiGene. You can come back later to complete and submit it.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6859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CAD609-C276-ED26-6F38-B861FE2D8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77246" y="1033039"/>
            <a:ext cx="5083917" cy="4853411"/>
          </a:xfrm>
        </p:spPr>
        <p:txBody>
          <a:bodyPr/>
          <a:lstStyle/>
          <a:p>
            <a:r>
              <a:rPr lang="en-US" sz="4000" dirty="0"/>
              <a:t>Existing Account: SAP Business Network Login Assistanc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FD08949-2A70-A8CE-08CD-E6E9F6239F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FEFF75-79D2-EE46-877B-299D1510E68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83786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83786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4901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36E004-22BA-0FE8-7A1B-A98B02E3670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If you already have an SAP Business Network account and need assistance logging into your account, please review the tips below.</a:t>
            </a:r>
          </a:p>
          <a:p>
            <a:pPr marL="0" indent="0">
              <a:buNone/>
            </a:pPr>
            <a:endParaRPr lang="en-US" dirty="0"/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kern="100" dirty="0">
                <a:solidFill>
                  <a:schemeClr val="accent6"/>
                </a:solidFill>
                <a:effectLst/>
                <a:latin typeface="Arial" panose="020B0604020202020204" pitchFamily="34" charset="0"/>
                <a:ea typeface="DengXian" panose="02010600030101010101" pitchFamily="2" charset="-122"/>
                <a:cs typeface="Times New Roman" panose="02020603050405020304" pitchFamily="18" charset="0"/>
              </a:rPr>
              <a:t>Question: How do I retrieve my username?</a:t>
            </a:r>
            <a:endParaRPr lang="en-US" kern="100" dirty="0">
              <a:solidFill>
                <a:schemeClr val="accent6"/>
              </a:solidFill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400" kern="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u="sng" kern="0" dirty="0">
                <a:solidFill>
                  <a:schemeClr val="accent6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solution</a:t>
            </a: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400" kern="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787082" lvl="2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f you forgot your username, follow the directions below to retrieve it:</a:t>
            </a:r>
            <a:endParaRPr lang="en-US" kern="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787082" lvl="2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  <a:tabLst>
                <a:tab pos="457200" algn="l"/>
              </a:tabLst>
            </a:pPr>
            <a:r>
              <a:rPr lang="en-US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 the </a:t>
            </a:r>
            <a:r>
              <a:rPr lang="en-US" u="sng" kern="0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Supplier Login page</a:t>
            </a:r>
            <a:r>
              <a:rPr lang="en-US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click </a:t>
            </a:r>
            <a:r>
              <a:rPr lang="en-US" b="1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got Username</a:t>
            </a:r>
            <a:r>
              <a:rPr lang="en-US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kern="100" dirty="0">
              <a:solidFill>
                <a:srgbClr val="32363A"/>
              </a:solidFill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787082" lvl="2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  <a:tabLst>
                <a:tab pos="457200" algn="l"/>
              </a:tabLst>
            </a:pPr>
            <a:r>
              <a:rPr lang="en-US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ter the email address registered to the account in the </a:t>
            </a:r>
            <a:r>
              <a:rPr lang="en-US" b="1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mail Address</a:t>
            </a:r>
            <a:r>
              <a:rPr lang="en-US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field and click </a:t>
            </a:r>
            <a:r>
              <a:rPr lang="en-US" b="1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ubmit</a:t>
            </a:r>
            <a:r>
              <a:rPr lang="en-US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kern="100" dirty="0">
              <a:solidFill>
                <a:srgbClr val="32363A"/>
              </a:solidFill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787082" lvl="2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  <a:tabLst>
                <a:tab pos="457200" algn="l"/>
              </a:tabLst>
            </a:pPr>
            <a:r>
              <a:rPr lang="en-US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heck your email for a notification that contains a list of usernames associated with your email address.</a:t>
            </a:r>
            <a:endParaRPr lang="en-US" kern="100" dirty="0">
              <a:solidFill>
                <a:srgbClr val="32363A"/>
              </a:solidFill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787082" lvl="2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lease note that usernames are case-sensitive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623E274-AFA8-637F-BA04-2BDC4CE4424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r>
              <a:rPr lang="en-US" dirty="0">
                <a:solidFill>
                  <a:schemeClr val="accent4"/>
                </a:solidFill>
              </a:rPr>
              <a:t>Existing Accounts: SAP Business Network Login Assistance</a:t>
            </a:r>
          </a:p>
        </p:txBody>
      </p:sp>
    </p:spTree>
    <p:extLst>
      <p:ext uri="{BB962C8B-B14F-4D97-AF65-F5344CB8AC3E}">
        <p14:creationId xmlns:p14="http://schemas.microsoft.com/office/powerpoint/2010/main" val="111085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5B9897-F37E-235F-F114-139AA579AD6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39448" y="1181432"/>
            <a:ext cx="11135076" cy="5171743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>
                <a:solidFill>
                  <a:srgbClr val="0E101A"/>
                </a:solidFill>
                <a:effectLst/>
                <a:latin typeface="+mj-lt"/>
                <a:ea typeface="DengXian" panose="02010600030101010101" pitchFamily="2" charset="-122"/>
                <a:cs typeface="Times New Roman" panose="02020603050405020304" pitchFamily="18" charset="0"/>
              </a:rPr>
              <a:t>BeiGene is committed to advancing innovative therapies that transform patients' lives. To achieve this mission, we partner with a diverse global community of suppliers who share our commitment to operating with integrity while ensuring compliance and the highest ethical standards.</a:t>
            </a:r>
          </a:p>
          <a:p>
            <a:pPr marL="0" indent="0">
              <a:buNone/>
            </a:pPr>
            <a:endParaRPr lang="en-US" sz="1800" dirty="0">
              <a:solidFill>
                <a:srgbClr val="0E101A"/>
              </a:solidFill>
              <a:latin typeface="+mj-lt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sz="1800" dirty="0">
                <a:solidFill>
                  <a:srgbClr val="0E101A"/>
                </a:solidFill>
                <a:latin typeface="+mj-lt"/>
                <a:ea typeface="DengXian" panose="02010600030101010101" pitchFamily="2" charset="-122"/>
                <a:cs typeface="Times New Roman" panose="02020603050405020304" pitchFamily="18" charset="0"/>
              </a:rPr>
              <a:t>SAP Ariba Network is our chosen platform to empower and enhance collaborative sourcing activities. It provides a centralized, user-friendly, and secure environment for all aspects of the sourcing journey. Please follow the steps in this Quick Reference Guide to become a BeiGene Supplier.</a:t>
            </a:r>
          </a:p>
          <a:p>
            <a:pPr marL="0" indent="0">
              <a:buNone/>
            </a:pPr>
            <a:endParaRPr lang="en-US" sz="1800" dirty="0">
              <a:latin typeface="+mj-lt"/>
            </a:endParaRPr>
          </a:p>
          <a:p>
            <a:pPr lvl="2"/>
            <a:r>
              <a:rPr lang="en-US" sz="1800" dirty="0">
                <a:hlinkClick r:id="rId2" action="ppaction://hlinksldjump"/>
              </a:rPr>
              <a:t>SAP Business Network​ Account Registration </a:t>
            </a:r>
            <a:endParaRPr lang="en-US" sz="1800" dirty="0"/>
          </a:p>
          <a:p>
            <a:pPr lvl="2"/>
            <a:r>
              <a:rPr lang="en-US" sz="1800" dirty="0">
                <a:hlinkClick r:id="rId3" action="ppaction://hlinksldjump"/>
              </a:rPr>
              <a:t>BeiGene Supplier Registration Questionnaire</a:t>
            </a:r>
            <a:endParaRPr lang="en-US" sz="1800" dirty="0"/>
          </a:p>
          <a:p>
            <a:pPr lvl="2"/>
            <a:r>
              <a:rPr lang="en-US" sz="1800" dirty="0">
                <a:hlinkClick r:id="rId4" action="ppaction://hlinksldjump"/>
              </a:rPr>
              <a:t>Existing Account SAP Business Network Login Assistance</a:t>
            </a:r>
            <a:endParaRPr lang="en-US" sz="18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CC5A78F-DB0F-3D1D-9ADE-3D0D06BA612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r>
              <a:rPr lang="en-US" dirty="0"/>
              <a:t>Become a BeiGene Supplier</a:t>
            </a:r>
          </a:p>
        </p:txBody>
      </p:sp>
    </p:spTree>
    <p:extLst>
      <p:ext uri="{BB962C8B-B14F-4D97-AF65-F5344CB8AC3E}">
        <p14:creationId xmlns:p14="http://schemas.microsoft.com/office/powerpoint/2010/main" val="2157095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36E004-22BA-0FE8-7A1B-A98B02E3670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39448" y="1181432"/>
            <a:ext cx="11135076" cy="4990768"/>
          </a:xfrm>
        </p:spPr>
        <p:txBody>
          <a:bodyPr/>
          <a:lstStyle/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b="1" kern="0" dirty="0">
                <a:solidFill>
                  <a:schemeClr val="accent6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stion: How do I reset my password as a supplier? How can I send myself a password reset?</a:t>
            </a:r>
            <a:endParaRPr lang="en-US" kern="100" dirty="0">
              <a:solidFill>
                <a:schemeClr val="accent6"/>
              </a:solidFill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kern="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400" kern="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u="sng" kern="0" dirty="0">
                <a:solidFill>
                  <a:schemeClr val="accent6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solution</a:t>
            </a: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400" kern="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787082" lvl="2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  <a:tabLst>
                <a:tab pos="457200" algn="l"/>
              </a:tabLst>
            </a:pPr>
            <a:r>
              <a:rPr lang="en-US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 the </a:t>
            </a:r>
            <a:r>
              <a:rPr lang="en-US" u="sng" kern="0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Supplier Login</a:t>
            </a:r>
            <a:r>
              <a:rPr lang="en-US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page, click </a:t>
            </a:r>
            <a:r>
              <a:rPr lang="en-US" b="1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ssword</a:t>
            </a:r>
            <a:r>
              <a:rPr lang="en-US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kern="100" dirty="0">
              <a:solidFill>
                <a:srgbClr val="32363A"/>
              </a:solidFill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787082" lvl="2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  <a:tabLst>
                <a:tab pos="457200" algn="l"/>
              </a:tabLst>
            </a:pPr>
            <a:r>
              <a:rPr lang="en-US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ter the email address registered to the account in the</a:t>
            </a:r>
            <a:r>
              <a:rPr lang="en-US" b="1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Email Address</a:t>
            </a:r>
            <a:r>
              <a:rPr lang="en-US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field and click </a:t>
            </a:r>
            <a:r>
              <a:rPr lang="en-US" b="1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ubmit</a:t>
            </a:r>
            <a:r>
              <a:rPr lang="en-US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SAP Ariba will send an email notification containing instructions on resetting your password to the email address you used to register your SAP Ariba account.</a:t>
            </a:r>
            <a:endParaRPr lang="en-US" kern="100" dirty="0">
              <a:solidFill>
                <a:srgbClr val="32363A"/>
              </a:solidFill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787082" lvl="2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  <a:tabLst>
                <a:tab pos="457200" algn="l"/>
              </a:tabLst>
            </a:pPr>
            <a:r>
              <a:rPr lang="en-US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ick the link in the Password Reset notification email.</a:t>
            </a:r>
            <a:endParaRPr lang="en-US" kern="100" dirty="0">
              <a:solidFill>
                <a:srgbClr val="32363A"/>
              </a:solidFill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787082" lvl="2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  <a:tabLst>
                <a:tab pos="457200" algn="l"/>
              </a:tabLst>
            </a:pPr>
            <a:r>
              <a:rPr lang="en-US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ter and confirm your new password.</a:t>
            </a:r>
            <a:endParaRPr lang="en-US" kern="100" dirty="0">
              <a:solidFill>
                <a:srgbClr val="32363A"/>
              </a:solidFill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787082" lvl="2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  <a:tabLst>
                <a:tab pos="457200" algn="l"/>
              </a:tabLst>
            </a:pPr>
            <a:r>
              <a:rPr lang="en-US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lick </a:t>
            </a:r>
            <a:r>
              <a:rPr lang="en-US" b="1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ubmit</a:t>
            </a:r>
            <a:r>
              <a:rPr lang="en-US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br>
              <a:rPr lang="en-US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kern="100" dirty="0">
              <a:solidFill>
                <a:srgbClr val="32363A"/>
              </a:solidFill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400" b="1" kern="0" dirty="0">
                <a:solidFill>
                  <a:schemeClr val="accent6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ome password recommendations:</a:t>
            </a:r>
            <a:endParaRPr lang="en-US" sz="1400" b="1" kern="100" dirty="0">
              <a:solidFill>
                <a:schemeClr val="accent6"/>
              </a:solidFill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1072832" lvl="2" indent="-285750">
              <a:lnSpc>
                <a:spcPct val="107000"/>
              </a:lnSpc>
              <a:spcBef>
                <a:spcPts val="0"/>
              </a:spcBef>
              <a:buClr>
                <a:schemeClr val="accent6"/>
              </a:buClr>
              <a:buSzPts val="1000"/>
              <a:buFont typeface="Wingdings" panose="05000000000000000000" pitchFamily="2" charset="2"/>
              <a:buChar char="ü"/>
              <a:tabLst>
                <a:tab pos="457200" algn="l"/>
              </a:tabLst>
            </a:pPr>
            <a:r>
              <a:rPr lang="en-US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ust contain between 8 and 32 characters</a:t>
            </a:r>
            <a:endParaRPr lang="en-US" kern="100" dirty="0">
              <a:solidFill>
                <a:srgbClr val="32363A"/>
              </a:solidFill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1072832" lvl="2" indent="-285750">
              <a:lnSpc>
                <a:spcPct val="107000"/>
              </a:lnSpc>
              <a:spcBef>
                <a:spcPts val="0"/>
              </a:spcBef>
              <a:buClr>
                <a:schemeClr val="accent6"/>
              </a:buClr>
              <a:buSzPts val="1000"/>
              <a:buFont typeface="Wingdings" panose="05000000000000000000" pitchFamily="2" charset="2"/>
              <a:buChar char="ü"/>
              <a:tabLst>
                <a:tab pos="457200" algn="l"/>
              </a:tabLst>
            </a:pPr>
            <a:r>
              <a:rPr lang="en-US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ust contain at least one lowercase letter, one uppercase letter, numeric character and one special character</a:t>
            </a:r>
          </a:p>
          <a:p>
            <a:pPr marL="1072832" lvl="2" indent="-285750">
              <a:lnSpc>
                <a:spcPct val="107000"/>
              </a:lnSpc>
              <a:spcBef>
                <a:spcPts val="0"/>
              </a:spcBef>
              <a:buClr>
                <a:schemeClr val="accent6"/>
              </a:buClr>
              <a:buSzPts val="1000"/>
              <a:buFont typeface="Wingdings" panose="05000000000000000000" pitchFamily="2" charset="2"/>
              <a:buChar char="ü"/>
              <a:tabLst>
                <a:tab pos="457200" algn="l"/>
              </a:tabLst>
            </a:pPr>
            <a:r>
              <a:rPr lang="en-US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pecial characters allowed are !#$&amp;'()*+,-./:;&lt;=&gt;?@^_`{|}~\"][</a:t>
            </a:r>
            <a:endParaRPr lang="en-US" kern="100" dirty="0">
              <a:solidFill>
                <a:srgbClr val="32363A"/>
              </a:solidFill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1072832" lvl="2" indent="-285750">
              <a:lnSpc>
                <a:spcPct val="107000"/>
              </a:lnSpc>
              <a:spcBef>
                <a:spcPts val="0"/>
              </a:spcBef>
              <a:buClr>
                <a:schemeClr val="accent6"/>
              </a:buClr>
              <a:buSzPts val="1000"/>
              <a:buFont typeface="Wingdings" panose="05000000000000000000" pitchFamily="2" charset="2"/>
              <a:buChar char="ü"/>
              <a:tabLst>
                <a:tab pos="457200" algn="l"/>
              </a:tabLst>
            </a:pPr>
            <a:r>
              <a:rPr lang="en-US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nnot contain username</a:t>
            </a:r>
            <a:endParaRPr lang="en-US" kern="100" dirty="0">
              <a:solidFill>
                <a:srgbClr val="32363A"/>
              </a:solidFill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1072832" lvl="2" indent="-285750">
              <a:lnSpc>
                <a:spcPct val="107000"/>
              </a:lnSpc>
              <a:spcBef>
                <a:spcPts val="0"/>
              </a:spcBef>
              <a:buClr>
                <a:schemeClr val="accent6"/>
              </a:buClr>
              <a:buSzPts val="1000"/>
              <a:buFont typeface="Wingdings" panose="05000000000000000000" pitchFamily="2" charset="2"/>
              <a:buChar char="ü"/>
              <a:tabLst>
                <a:tab pos="457200" algn="l"/>
              </a:tabLst>
            </a:pPr>
            <a:r>
              <a:rPr lang="en-US" kern="0" dirty="0">
                <a:solidFill>
                  <a:srgbClr val="32363A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t is not recommended to use repeating characters and numbers sequentially</a:t>
            </a:r>
            <a:endParaRPr lang="en-US" kern="100" dirty="0">
              <a:solidFill>
                <a:srgbClr val="32363A"/>
              </a:solidFill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chemeClr val="accent6"/>
              </a:buClr>
              <a:buFont typeface="Wingdings" panose="05000000000000000000" pitchFamily="2" charset="2"/>
              <a:buChar char="ü"/>
            </a:pPr>
            <a:endParaRPr lang="en-US" sz="1200" kern="0" dirty="0">
              <a:solidFill>
                <a:srgbClr val="32363A"/>
              </a:solidFill>
              <a:latin typeface="Arial" panose="020B060402020202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1200" kern="100" dirty="0">
              <a:effectLst/>
              <a:latin typeface="Calibri" panose="020F0502020204030204" pitchFamily="34" charset="0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623E274-AFA8-637F-BA04-2BDC4CE4424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r>
              <a:rPr lang="en-US" dirty="0">
                <a:solidFill>
                  <a:schemeClr val="accent4"/>
                </a:solidFill>
              </a:rPr>
              <a:t>Existing Accounts: SAP Business Network Login Assistance</a:t>
            </a:r>
          </a:p>
        </p:txBody>
      </p:sp>
    </p:spTree>
    <p:extLst>
      <p:ext uri="{BB962C8B-B14F-4D97-AF65-F5344CB8AC3E}">
        <p14:creationId xmlns:p14="http://schemas.microsoft.com/office/powerpoint/2010/main" val="1988946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CAD609-C276-ED26-6F38-B861FE2D8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77246" y="1033039"/>
            <a:ext cx="5083917" cy="4853411"/>
          </a:xfrm>
        </p:spPr>
        <p:txBody>
          <a:bodyPr/>
          <a:lstStyle/>
          <a:p>
            <a:r>
              <a:rPr lang="en-US" sz="4000" dirty="0"/>
              <a:t>SAP Business Network​ Account Registration </a:t>
            </a:r>
            <a:br>
              <a:rPr lang="en-US" sz="4000" dirty="0"/>
            </a:br>
            <a:br>
              <a:rPr lang="en-US" sz="4000" dirty="0"/>
            </a:b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FD08949-2A70-A8CE-08CD-E6E9F6239F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FEFF75-79D2-EE46-877B-299D1510E68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83786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83786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2171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A137F2-84CC-1F5F-1679-362703149B0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r>
              <a:rPr lang="en-US" dirty="0"/>
              <a:t>SAP Business Network Account Registr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FF5E3A5-A791-24EA-3167-D4CB2FE39290}"/>
              </a:ext>
            </a:extLst>
          </p:cNvPr>
          <p:cNvSpPr txBox="1"/>
          <p:nvPr/>
        </p:nvSpPr>
        <p:spPr>
          <a:xfrm>
            <a:off x="739448" y="1304448"/>
            <a:ext cx="1119537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6"/>
                </a:solidFill>
              </a:rPr>
              <a:t>STEP 1</a:t>
            </a:r>
            <a:r>
              <a:rPr lang="en-US" dirty="0">
                <a:solidFill>
                  <a:schemeClr val="bg1"/>
                </a:solidFill>
              </a:rPr>
              <a:t> - You will receive an e-mail notification with the invitation to become a BeiGene Supplier; please open the link provided. You will be redirected to the SAP Business Network log-in site.</a:t>
            </a:r>
          </a:p>
          <a:p>
            <a:r>
              <a:rPr lang="en-US" dirty="0">
                <a:solidFill>
                  <a:schemeClr val="bg1"/>
                </a:solidFill>
              </a:rPr>
              <a:t>	</a:t>
            </a:r>
          </a:p>
          <a:p>
            <a:endParaRPr lang="en-US" b="1" dirty="0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86736A2-CBEC-7FAE-D82F-46EBFC00DF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4118" y="2246279"/>
            <a:ext cx="8966035" cy="4213890"/>
          </a:xfrm>
          <a:prstGeom prst="rect">
            <a:avLst/>
          </a:prstGeom>
          <a:ln w="6350">
            <a:solidFill>
              <a:schemeClr val="bg2">
                <a:lumMod val="40000"/>
                <a:lumOff val="6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19066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A137F2-84CC-1F5F-1679-362703149B0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r>
              <a:rPr lang="en-US" dirty="0"/>
              <a:t>SAP Business Network Account Registr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FF5E3A5-A791-24EA-3167-D4CB2FE39290}"/>
              </a:ext>
            </a:extLst>
          </p:cNvPr>
          <p:cNvSpPr txBox="1"/>
          <p:nvPr/>
        </p:nvSpPr>
        <p:spPr>
          <a:xfrm>
            <a:off x="739448" y="1304448"/>
            <a:ext cx="11195377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6"/>
                </a:solidFill>
              </a:rPr>
              <a:t>STEP 2</a:t>
            </a:r>
            <a:r>
              <a:rPr lang="en-US" dirty="0">
                <a:solidFill>
                  <a:schemeClr val="bg1"/>
                </a:solidFill>
              </a:rPr>
              <a:t> - If you are new to SAP Business Network - choose </a:t>
            </a:r>
            <a:r>
              <a:rPr lang="en-US" b="1" dirty="0">
                <a:solidFill>
                  <a:schemeClr val="bg1"/>
                </a:solidFill>
              </a:rPr>
              <a:t>Create New Account </a:t>
            </a:r>
            <a:r>
              <a:rPr lang="en-US" dirty="0">
                <a:solidFill>
                  <a:schemeClr val="bg1"/>
                </a:solidFill>
              </a:rPr>
              <a:t>to register a new Standard Account (free of charge option). 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If you are an SAP Business Network user – choose </a:t>
            </a:r>
            <a:r>
              <a:rPr lang="en-US" b="1" dirty="0">
                <a:solidFill>
                  <a:schemeClr val="bg1"/>
                </a:solidFill>
              </a:rPr>
              <a:t>Use Existing Account </a:t>
            </a:r>
            <a:r>
              <a:rPr lang="en-US" dirty="0">
                <a:solidFill>
                  <a:schemeClr val="bg1"/>
                </a:solidFill>
              </a:rPr>
              <a:t>and log in with the credentials of your already existing account. After this, you will be moved to the supplier questionnaire.	</a:t>
            </a:r>
          </a:p>
          <a:p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A22EC0A-628A-2D7C-69C1-3EF6BA7B2245}"/>
              </a:ext>
            </a:extLst>
          </p:cNvPr>
          <p:cNvSpPr txBox="1"/>
          <p:nvPr/>
        </p:nvSpPr>
        <p:spPr>
          <a:xfrm>
            <a:off x="1300469" y="3340816"/>
            <a:ext cx="2014231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* If you are not sure whether your company is already using SAP Business Network, please click on </a:t>
            </a:r>
            <a:r>
              <a:rPr lang="en-US" sz="1400" b="1" dirty="0">
                <a:solidFill>
                  <a:schemeClr val="bg1"/>
                </a:solidFill>
              </a:rPr>
              <a:t>Review Accoun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4195A64-50C1-B76E-99FF-C78EAFDF51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67199" y="3014725"/>
            <a:ext cx="6090931" cy="3686786"/>
          </a:xfrm>
          <a:prstGeom prst="rect">
            <a:avLst/>
          </a:prstGeom>
          <a:ln w="6350">
            <a:solidFill>
              <a:schemeClr val="bg2">
                <a:lumMod val="40000"/>
                <a:lumOff val="6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651944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A137F2-84CC-1F5F-1679-362703149B0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r>
              <a:rPr lang="en-US" dirty="0"/>
              <a:t>SAP Business Network Account Registr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FF5E3A5-A791-24EA-3167-D4CB2FE39290}"/>
              </a:ext>
            </a:extLst>
          </p:cNvPr>
          <p:cNvSpPr txBox="1"/>
          <p:nvPr/>
        </p:nvSpPr>
        <p:spPr>
          <a:xfrm>
            <a:off x="739448" y="1304448"/>
            <a:ext cx="11195377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6"/>
                </a:solidFill>
              </a:rPr>
              <a:t>NOTE: </a:t>
            </a:r>
            <a:r>
              <a:rPr lang="en-US" dirty="0">
                <a:solidFill>
                  <a:schemeClr val="bg1"/>
                </a:solidFill>
              </a:rPr>
              <a:t>If you choose </a:t>
            </a:r>
            <a:r>
              <a:rPr lang="en-US" b="1" dirty="0">
                <a:solidFill>
                  <a:schemeClr val="bg1"/>
                </a:solidFill>
              </a:rPr>
              <a:t>Create New Account </a:t>
            </a:r>
            <a:r>
              <a:rPr lang="en-US" dirty="0">
                <a:solidFill>
                  <a:schemeClr val="bg1"/>
                </a:solidFill>
              </a:rPr>
              <a:t>to register a new Standard Account (free of charge option), you might see the message below. 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* It is important to review accounts if you receive this message prior to continuing with a new account creation to avoid duplication of accounts.</a:t>
            </a:r>
          </a:p>
          <a:p>
            <a:endParaRPr lang="en-US" b="1" dirty="0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81D5BB-AF50-0665-02B9-55216E8AD2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95407" y="2986844"/>
            <a:ext cx="5601185" cy="3391194"/>
          </a:xfrm>
          <a:prstGeom prst="rect">
            <a:avLst/>
          </a:prstGeom>
          <a:ln w="6350">
            <a:solidFill>
              <a:schemeClr val="bg2">
                <a:lumMod val="40000"/>
                <a:lumOff val="6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982626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5A9CC9-1B43-851B-6932-B08F9EAAEF7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39424" y="1400508"/>
            <a:ext cx="11135076" cy="1009318"/>
          </a:xfrm>
        </p:spPr>
        <p:txBody>
          <a:bodyPr/>
          <a:lstStyle/>
          <a:p>
            <a:pPr marL="0" indent="0">
              <a:buNone/>
            </a:pPr>
            <a:r>
              <a:rPr lang="en-US" sz="1800" b="1" dirty="0">
                <a:solidFill>
                  <a:schemeClr val="accent6"/>
                </a:solidFill>
              </a:rPr>
              <a:t>STEP 3</a:t>
            </a:r>
            <a:r>
              <a:rPr lang="en-US" sz="1800" dirty="0">
                <a:solidFill>
                  <a:schemeClr val="bg1"/>
                </a:solidFill>
              </a:rPr>
              <a:t> – You will be prompted to confirm your email address. </a:t>
            </a:r>
            <a:endParaRPr lang="en-US" sz="18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65C5E90-570F-290E-C98E-1AC7BC21720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r>
              <a:rPr lang="en-US" dirty="0"/>
              <a:t>SAP Business Network Account Registra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C1FBCAE-8912-D20B-AAD6-3DDA59FE945B}"/>
              </a:ext>
            </a:extLst>
          </p:cNvPr>
          <p:cNvSpPr txBox="1"/>
          <p:nvPr/>
        </p:nvSpPr>
        <p:spPr>
          <a:xfrm>
            <a:off x="574932" y="4219575"/>
            <a:ext cx="6359411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chemeClr val="accent6"/>
                </a:solidFill>
              </a:rPr>
              <a:t>STEP 4</a:t>
            </a:r>
            <a:r>
              <a:rPr lang="en-US" sz="1800" dirty="0">
                <a:solidFill>
                  <a:schemeClr val="bg1"/>
                </a:solidFill>
              </a:rPr>
              <a:t> – You will receive an email from Ariba (</a:t>
            </a:r>
            <a:r>
              <a:rPr lang="en-US" sz="1800" dirty="0">
                <a:solidFill>
                  <a:schemeClr val="bg1"/>
                </a:solidFill>
                <a:hlinkClick r:id="rId2"/>
              </a:rPr>
              <a:t>ordersender-prod@ansmtp.ariba.com</a:t>
            </a:r>
            <a:r>
              <a:rPr lang="en-US" sz="1800" dirty="0">
                <a:solidFill>
                  <a:schemeClr val="bg1"/>
                </a:solidFill>
              </a:rPr>
              <a:t>). </a:t>
            </a:r>
            <a:r>
              <a:rPr lang="en-US" dirty="0">
                <a:solidFill>
                  <a:schemeClr val="bg1"/>
                </a:solidFill>
              </a:rPr>
              <a:t>Click </a:t>
            </a:r>
            <a:r>
              <a:rPr lang="en-US" b="1" dirty="0">
                <a:solidFill>
                  <a:schemeClr val="bg1"/>
                </a:solidFill>
              </a:rPr>
              <a:t>Confirm email</a:t>
            </a:r>
          </a:p>
          <a:p>
            <a:pPr algn="l"/>
            <a:endParaRPr lang="en-US" sz="1800" dirty="0">
              <a:solidFill>
                <a:schemeClr val="bg1"/>
              </a:solidFill>
            </a:endParaRPr>
          </a:p>
          <a:p>
            <a:pPr algn="l"/>
            <a:r>
              <a:rPr lang="en-US" sz="1400" dirty="0">
                <a:solidFill>
                  <a:schemeClr val="bg1"/>
                </a:solidFill>
              </a:rPr>
              <a:t>You must confirm your email address within 72 hours of receiving the email.</a:t>
            </a:r>
          </a:p>
          <a:p>
            <a:pPr algn="l"/>
            <a:r>
              <a:rPr lang="en-US" sz="1400" dirty="0">
                <a:solidFill>
                  <a:schemeClr val="bg1"/>
                </a:solidFill>
              </a:rPr>
              <a:t>If you do not receive the email, please check your spam/junk mail folder.</a:t>
            </a:r>
          </a:p>
          <a:p>
            <a:pPr algn="l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7079CCE-52D2-D5BB-01CD-8C70B8CE4D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9424" y="2152844"/>
            <a:ext cx="6282192" cy="1542856"/>
          </a:xfrm>
          <a:prstGeom prst="rect">
            <a:avLst/>
          </a:prstGeom>
          <a:ln w="6350">
            <a:solidFill>
              <a:schemeClr val="bg2">
                <a:lumMod val="40000"/>
                <a:lumOff val="60000"/>
              </a:schemeClr>
            </a:solidFill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30B6EB0-33BB-35CC-4131-3EC2E4DDFA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34343" y="2787928"/>
            <a:ext cx="5035550" cy="3961486"/>
          </a:xfrm>
          <a:prstGeom prst="rect">
            <a:avLst/>
          </a:prstGeom>
          <a:ln w="6350">
            <a:solidFill>
              <a:schemeClr val="bg2">
                <a:lumMod val="40000"/>
                <a:lumOff val="6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707129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5A9CC9-1B43-851B-6932-B08F9EAAEF7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39424" y="1400507"/>
            <a:ext cx="11135076" cy="1333167"/>
          </a:xfrm>
        </p:spPr>
        <p:txBody>
          <a:bodyPr/>
          <a:lstStyle/>
          <a:p>
            <a:pPr marL="0" indent="0">
              <a:buNone/>
            </a:pPr>
            <a:r>
              <a:rPr lang="en-US" sz="1800" b="1" dirty="0">
                <a:solidFill>
                  <a:schemeClr val="accent6"/>
                </a:solidFill>
              </a:rPr>
              <a:t>STEP 5</a:t>
            </a:r>
            <a:r>
              <a:rPr lang="en-US" sz="1800" dirty="0">
                <a:solidFill>
                  <a:schemeClr val="bg1"/>
                </a:solidFill>
              </a:rPr>
              <a:t> – Provide information regarding your </a:t>
            </a:r>
            <a:r>
              <a:rPr lang="en-US" sz="1800" b="1" dirty="0">
                <a:solidFill>
                  <a:schemeClr val="bg1"/>
                </a:solidFill>
              </a:rPr>
              <a:t>Product and Service Categories </a:t>
            </a:r>
            <a:r>
              <a:rPr lang="en-US" sz="1800" dirty="0">
                <a:solidFill>
                  <a:schemeClr val="bg1"/>
                </a:solidFill>
              </a:rPr>
              <a:t>and </a:t>
            </a:r>
            <a:r>
              <a:rPr lang="en-US" sz="1800" b="1" dirty="0">
                <a:solidFill>
                  <a:schemeClr val="bg1"/>
                </a:solidFill>
              </a:rPr>
              <a:t>Ship-to or Service Locations.</a:t>
            </a:r>
            <a:r>
              <a:rPr lang="en-US" sz="1800" dirty="0">
                <a:solidFill>
                  <a:schemeClr val="bg1"/>
                </a:solidFill>
              </a:rPr>
              <a:t> Click on “Browse,” to select the category and location and choose the most suitable description. 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b="1" dirty="0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800" b="1" dirty="0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800" b="1" dirty="0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800" b="1" dirty="0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800" b="1" dirty="0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800" b="1" dirty="0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800" b="1" dirty="0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800" b="1" dirty="0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800" b="1" dirty="0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800" b="1" dirty="0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800" b="1" dirty="0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800" b="1" dirty="0">
              <a:solidFill>
                <a:schemeClr val="accent6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65C5E90-570F-290E-C98E-1AC7BC21720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r>
              <a:rPr lang="en-US" dirty="0"/>
              <a:t>SAP Business Network Account Registration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8BC6054-79B4-87A9-D93C-EDBE540807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9824" y="2360137"/>
            <a:ext cx="9214275" cy="3716813"/>
          </a:xfrm>
          <a:prstGeom prst="rect">
            <a:avLst/>
          </a:prstGeom>
          <a:ln w="6350">
            <a:solidFill>
              <a:schemeClr val="bg2">
                <a:lumMod val="40000"/>
                <a:lumOff val="6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341232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5A9CC9-1B43-851B-6932-B08F9EAAEF7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63248" y="1234611"/>
            <a:ext cx="11135076" cy="1333167"/>
          </a:xfrm>
        </p:spPr>
        <p:txBody>
          <a:bodyPr/>
          <a:lstStyle/>
          <a:p>
            <a:pPr marL="0" indent="0">
              <a:buNone/>
            </a:pPr>
            <a:r>
              <a:rPr lang="en-US" sz="1800" b="1" dirty="0">
                <a:solidFill>
                  <a:schemeClr val="accent6"/>
                </a:solidFill>
              </a:rPr>
              <a:t>STEP 5a.</a:t>
            </a:r>
            <a:r>
              <a:rPr lang="en-US" sz="1800" dirty="0">
                <a:solidFill>
                  <a:schemeClr val="bg1"/>
                </a:solidFill>
              </a:rPr>
              <a:t> – Choose your </a:t>
            </a:r>
            <a:r>
              <a:rPr lang="en-US" sz="1800" b="1" dirty="0">
                <a:solidFill>
                  <a:schemeClr val="bg1"/>
                </a:solidFill>
              </a:rPr>
              <a:t>Products and Service Categories </a:t>
            </a:r>
            <a:r>
              <a:rPr lang="en-US" sz="1800" dirty="0">
                <a:solidFill>
                  <a:schemeClr val="bg1"/>
                </a:solidFill>
              </a:rPr>
              <a:t>and click </a:t>
            </a:r>
            <a:r>
              <a:rPr lang="en-US" sz="1800" b="1" dirty="0">
                <a:solidFill>
                  <a:schemeClr val="bg1"/>
                </a:solidFill>
              </a:rPr>
              <a:t>OK </a:t>
            </a:r>
            <a:r>
              <a:rPr lang="en-US" sz="1800" dirty="0">
                <a:solidFill>
                  <a:schemeClr val="bg1"/>
                </a:solidFill>
              </a:rPr>
              <a:t>(follow the same steps for </a:t>
            </a:r>
            <a:r>
              <a:rPr lang="en-US" sz="1800" b="1" dirty="0">
                <a:solidFill>
                  <a:schemeClr val="bg1"/>
                </a:solidFill>
              </a:rPr>
              <a:t>Ship-to or Service Locations</a:t>
            </a:r>
            <a:r>
              <a:rPr lang="en-US" sz="1800" dirty="0">
                <a:solidFill>
                  <a:schemeClr val="bg1"/>
                </a:solidFill>
              </a:rPr>
              <a:t>)</a:t>
            </a:r>
            <a:endParaRPr lang="en-US" sz="1800" b="1" dirty="0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800" b="1" dirty="0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800" b="1" dirty="0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800" b="1" dirty="0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800" b="1" dirty="0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800" b="1" dirty="0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800" b="1" dirty="0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800" b="1" dirty="0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800" b="1" dirty="0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800" b="1" dirty="0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800" b="1" dirty="0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800" b="1" dirty="0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800" b="1" dirty="0">
              <a:solidFill>
                <a:schemeClr val="accent6"/>
              </a:solidFill>
            </a:endParaRPr>
          </a:p>
          <a:p>
            <a:pPr marL="0" indent="0">
              <a:buNone/>
            </a:pPr>
            <a:endParaRPr lang="en-US" sz="1800" b="1" dirty="0">
              <a:solidFill>
                <a:schemeClr val="accent6"/>
              </a:solidFill>
            </a:endParaRPr>
          </a:p>
          <a:p>
            <a:pPr marL="0" indent="0">
              <a:buNone/>
            </a:pPr>
            <a:r>
              <a:rPr lang="en-US" sz="1400" b="1" dirty="0">
                <a:solidFill>
                  <a:schemeClr val="accent6"/>
                </a:solidFill>
              </a:rPr>
              <a:t>NOTE </a:t>
            </a:r>
            <a:r>
              <a:rPr lang="en-US" sz="1400" dirty="0">
                <a:solidFill>
                  <a:schemeClr val="bg1"/>
                </a:solidFill>
              </a:rPr>
              <a:t>– If you Browse for your </a:t>
            </a:r>
            <a:r>
              <a:rPr lang="en-US" sz="1400" b="1" dirty="0">
                <a:solidFill>
                  <a:schemeClr val="bg1"/>
                </a:solidFill>
              </a:rPr>
              <a:t>Products and Service Categories </a:t>
            </a:r>
            <a:r>
              <a:rPr lang="en-US" sz="1400" dirty="0">
                <a:solidFill>
                  <a:schemeClr val="bg1"/>
                </a:solidFill>
              </a:rPr>
              <a:t>and</a:t>
            </a:r>
            <a:r>
              <a:rPr lang="en-US" sz="1400" b="1" dirty="0">
                <a:solidFill>
                  <a:schemeClr val="bg1"/>
                </a:solidFill>
              </a:rPr>
              <a:t> Ship-to or Service Locations, </a:t>
            </a:r>
            <a:r>
              <a:rPr lang="en-US" sz="1400" dirty="0">
                <a:solidFill>
                  <a:schemeClr val="bg1"/>
                </a:solidFill>
              </a:rPr>
              <a:t>you must drill down until you see a plus (+) sign to add the product or service.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dirty="0">
                <a:solidFill>
                  <a:schemeClr val="bg1"/>
                </a:solidFill>
              </a:rPr>
              <a:t> </a:t>
            </a:r>
            <a:endParaRPr lang="en-US" sz="1800" b="1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65C5E90-570F-290E-C98E-1AC7BC21720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r>
              <a:rPr lang="en-US" dirty="0"/>
              <a:t>SAP Business Network Account Registra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AB58F38-5C1E-D48C-BE3E-C9959C7578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0113" y="2021421"/>
            <a:ext cx="10391774" cy="3733341"/>
          </a:xfrm>
          <a:prstGeom prst="rect">
            <a:avLst/>
          </a:prstGeom>
          <a:ln w="6350">
            <a:solidFill>
              <a:schemeClr val="bg2">
                <a:lumMod val="40000"/>
                <a:lumOff val="6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83134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Custom Design">
  <a:themeElements>
    <a:clrScheme name="BeiGene Template">
      <a:dk1>
        <a:srgbClr val="000000"/>
      </a:dk1>
      <a:lt1>
        <a:srgbClr val="FFFFFF"/>
      </a:lt1>
      <a:dk2>
        <a:srgbClr val="313F48"/>
      </a:dk2>
      <a:lt2>
        <a:srgbClr val="E8EBED"/>
      </a:lt2>
      <a:accent1>
        <a:srgbClr val="176E94"/>
      </a:accent1>
      <a:accent2>
        <a:srgbClr val="71C5E7"/>
      </a:accent2>
      <a:accent3>
        <a:srgbClr val="D8261C"/>
      </a:accent3>
      <a:accent4>
        <a:srgbClr val="004974"/>
      </a:accent4>
      <a:accent5>
        <a:srgbClr val="71C5E7"/>
      </a:accent5>
      <a:accent6>
        <a:srgbClr val="D8261C"/>
      </a:accent6>
      <a:hlink>
        <a:srgbClr val="176E94"/>
      </a:hlink>
      <a:folHlink>
        <a:srgbClr val="004974"/>
      </a:folHlink>
    </a:clrScheme>
    <a:fontScheme name="Custom 40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2">
              <a:lumMod val="90000"/>
            </a:schemeClr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Custom Design">
  <a:themeElements>
    <a:clrScheme name="BeiGene Template">
      <a:dk1>
        <a:srgbClr val="000000"/>
      </a:dk1>
      <a:lt1>
        <a:srgbClr val="FFFFFF"/>
      </a:lt1>
      <a:dk2>
        <a:srgbClr val="313F48"/>
      </a:dk2>
      <a:lt2>
        <a:srgbClr val="E8EBED"/>
      </a:lt2>
      <a:accent1>
        <a:srgbClr val="176E94"/>
      </a:accent1>
      <a:accent2>
        <a:srgbClr val="71C5E7"/>
      </a:accent2>
      <a:accent3>
        <a:srgbClr val="D8261C"/>
      </a:accent3>
      <a:accent4>
        <a:srgbClr val="004974"/>
      </a:accent4>
      <a:accent5>
        <a:srgbClr val="71C5E7"/>
      </a:accent5>
      <a:accent6>
        <a:srgbClr val="D8261C"/>
      </a:accent6>
      <a:hlink>
        <a:srgbClr val="176E94"/>
      </a:hlink>
      <a:folHlink>
        <a:srgbClr val="004974"/>
      </a:folHlink>
    </a:clrScheme>
    <a:fontScheme name="Custom 40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2">
              <a:lumMod val="90000"/>
            </a:schemeClr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Custom Design">
  <a:themeElements>
    <a:clrScheme name="BeiGene Template">
      <a:dk1>
        <a:srgbClr val="000000"/>
      </a:dk1>
      <a:lt1>
        <a:srgbClr val="FFFFFF"/>
      </a:lt1>
      <a:dk2>
        <a:srgbClr val="313F48"/>
      </a:dk2>
      <a:lt2>
        <a:srgbClr val="E8EBED"/>
      </a:lt2>
      <a:accent1>
        <a:srgbClr val="176E94"/>
      </a:accent1>
      <a:accent2>
        <a:srgbClr val="71C5E7"/>
      </a:accent2>
      <a:accent3>
        <a:srgbClr val="D8261C"/>
      </a:accent3>
      <a:accent4>
        <a:srgbClr val="004974"/>
      </a:accent4>
      <a:accent5>
        <a:srgbClr val="71C5E7"/>
      </a:accent5>
      <a:accent6>
        <a:srgbClr val="D8261C"/>
      </a:accent6>
      <a:hlink>
        <a:srgbClr val="176E94"/>
      </a:hlink>
      <a:folHlink>
        <a:srgbClr val="004974"/>
      </a:folHlink>
    </a:clrScheme>
    <a:fontScheme name="Custom 40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2">
              <a:lumMod val="90000"/>
            </a:schemeClr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Office Theme">
  <a:themeElements>
    <a:clrScheme name="Beigene 1">
      <a:dk1>
        <a:srgbClr val="D9D8D6"/>
      </a:dk1>
      <a:lt1>
        <a:srgbClr val="283349"/>
      </a:lt1>
      <a:dk2>
        <a:srgbClr val="C3BFB6"/>
      </a:dk2>
      <a:lt2>
        <a:srgbClr val="83786F"/>
      </a:lt2>
      <a:accent1>
        <a:srgbClr val="003A70"/>
      </a:accent1>
      <a:accent2>
        <a:srgbClr val="ED1C24"/>
      </a:accent2>
      <a:accent3>
        <a:srgbClr val="FFC72C"/>
      </a:accent3>
      <a:accent4>
        <a:srgbClr val="A11D22"/>
      </a:accent4>
      <a:accent5>
        <a:srgbClr val="E97600"/>
      </a:accent5>
      <a:accent6>
        <a:srgbClr val="00677F"/>
      </a:accent6>
      <a:hlink>
        <a:srgbClr val="003A70"/>
      </a:hlink>
      <a:folHlink>
        <a:srgbClr val="003A7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eiGene_CorporatePPT_Final_7_27_2022" id="{E6641EAA-2463-2C4D-9AD3-842538BCF3BD}" vid="{E036AA6A-75CB-B847-9506-36CB70F1B6BF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B9C27DF01CF0F40B2D67E916EE9A681" ma:contentTypeVersion="18" ma:contentTypeDescription="Create a new document." ma:contentTypeScope="" ma:versionID="10bad86238d66d31df43483101992e82">
  <xsd:schema xmlns:xsd="http://www.w3.org/2001/XMLSchema" xmlns:xs="http://www.w3.org/2001/XMLSchema" xmlns:p="http://schemas.microsoft.com/office/2006/metadata/properties" xmlns:ns2="aceb4204-ef3d-4b99-93f3-6d58bb78d3cb" xmlns:ns3="5316f27b-9c09-42e6-8df8-962933856f46" targetNamespace="http://schemas.microsoft.com/office/2006/metadata/properties" ma:root="true" ma:fieldsID="293dc514edc6ab1578b6f44c4a0786f1" ns2:_="" ns3:_="">
    <xsd:import namespace="aceb4204-ef3d-4b99-93f3-6d58bb78d3cb"/>
    <xsd:import namespace="5316f27b-9c09-42e6-8df8-962933856f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eb4204-ef3d-4b99-93f3-6d58bb78d3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e003d8f8-0131-4872-956d-282be94aac3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16f27b-9c09-42e6-8df8-962933856f46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3a37d0d-f445-40e5-bcdb-6eb655eb03b8}" ma:internalName="TaxCatchAll" ma:showField="CatchAllData" ma:web="5316f27b-9c09-42e6-8df8-962933856f4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316f27b-9c09-42e6-8df8-962933856f46" xsi:nil="true"/>
    <lcf76f155ced4ddcb4097134ff3c332f xmlns="aceb4204-ef3d-4b99-93f3-6d58bb78d3cb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9010B7BB-0691-4132-A9C2-E7FD9C96587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691E81F-0A1E-4AF9-B679-3BA946CC3E5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ceb4204-ef3d-4b99-93f3-6d58bb78d3cb"/>
    <ds:schemaRef ds:uri="5316f27b-9c09-42e6-8df8-962933856f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CF633D3-BA0A-478B-96FA-D87CC12C9E21}">
  <ds:schemaRefs>
    <ds:schemaRef ds:uri="http://purl.org/dc/dcmitype/"/>
    <ds:schemaRef ds:uri="http://www.w3.org/XML/1998/namespace"/>
    <ds:schemaRef ds:uri="http://schemas.microsoft.com/office/2006/metadata/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5316f27b-9c09-42e6-8df8-962933856f46"/>
    <ds:schemaRef ds:uri="aceb4204-ef3d-4b99-93f3-6d58bb78d3cb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315</TotalTime>
  <Words>1064</Words>
  <Application>Microsoft Office PowerPoint</Application>
  <PresentationFormat>Widescreen</PresentationFormat>
  <Paragraphs>161</Paragraphs>
  <Slides>2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3" baseType="lpstr">
      <vt:lpstr>SAP-72-Regular</vt:lpstr>
      <vt:lpstr>System Font Regular</vt:lpstr>
      <vt:lpstr>Arial</vt:lpstr>
      <vt:lpstr>Calibri</vt:lpstr>
      <vt:lpstr>Gill Sans MT</vt:lpstr>
      <vt:lpstr>Raleway</vt:lpstr>
      <vt:lpstr>Tahoma</vt:lpstr>
      <vt:lpstr>Wingdings</vt:lpstr>
      <vt:lpstr>2_Custom Design</vt:lpstr>
      <vt:lpstr>3_Custom Design</vt:lpstr>
      <vt:lpstr>4_Custom Design</vt:lpstr>
      <vt:lpstr>4_Office Theme</vt:lpstr>
      <vt:lpstr>think-cell Slide</vt:lpstr>
      <vt:lpstr>How to Become a BeiGene Supplier</vt:lpstr>
      <vt:lpstr>Become a BeiGene Supplier</vt:lpstr>
      <vt:lpstr>SAP Business Network​ Account Registration   </vt:lpstr>
      <vt:lpstr>SAP Business Network Account Registration</vt:lpstr>
      <vt:lpstr>SAP Business Network Account Registration</vt:lpstr>
      <vt:lpstr>SAP Business Network Account Registration</vt:lpstr>
      <vt:lpstr>SAP Business Network Account Registration</vt:lpstr>
      <vt:lpstr>SAP Business Network Account Registration</vt:lpstr>
      <vt:lpstr>SAP Business Network Account Registration</vt:lpstr>
      <vt:lpstr>SAP Business Network Account Registration</vt:lpstr>
      <vt:lpstr>BeiGene Supplier Registration Questionnaire  </vt:lpstr>
      <vt:lpstr>BeiGene Supplier Registration Questionnaire</vt:lpstr>
      <vt:lpstr>BeiGene Supplier Registration Questionnaire</vt:lpstr>
      <vt:lpstr>BeiGene Supplier Registration Questionnaire</vt:lpstr>
      <vt:lpstr>BeiGene Supplier Registration Questionnaire</vt:lpstr>
      <vt:lpstr>BeiGene Supplier Registration Questionnaire</vt:lpstr>
      <vt:lpstr>BeiGene Supplier Registration Questionnaire</vt:lpstr>
      <vt:lpstr>Existing Account: SAP Business Network Login Assistance</vt:lpstr>
      <vt:lpstr>Existing Accounts: SAP Business Network Login Assistance</vt:lpstr>
      <vt:lpstr>Existing Accounts: SAP Business Network Login Assistanc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imberly DiBurro</dc:creator>
  <cp:lastModifiedBy>Valerie Sweeney</cp:lastModifiedBy>
  <cp:revision>3</cp:revision>
  <dcterms:created xsi:type="dcterms:W3CDTF">2022-06-28T14:46:26Z</dcterms:created>
  <dcterms:modified xsi:type="dcterms:W3CDTF">2024-09-05T15:12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B9C27DF01CF0F40B2D67E916EE9A681</vt:lpwstr>
  </property>
  <property fmtid="{D5CDD505-2E9C-101B-9397-08002B2CF9AE}" pid="3" name="_dlc_DocIdItemGuid">
    <vt:lpwstr>11db637d-93fe-42c7-b5f8-4dad013227fe</vt:lpwstr>
  </property>
  <property fmtid="{D5CDD505-2E9C-101B-9397-08002B2CF9AE}" pid="4" name="MediaServiceImageTags">
    <vt:lpwstr/>
  </property>
</Properties>
</file>